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344" r:id="rId2"/>
    <p:sldId id="414" r:id="rId3"/>
    <p:sldId id="427" r:id="rId4"/>
    <p:sldId id="416" r:id="rId5"/>
    <p:sldId id="413" r:id="rId6"/>
    <p:sldId id="418" r:id="rId7"/>
    <p:sldId id="419" r:id="rId8"/>
    <p:sldId id="422" r:id="rId9"/>
    <p:sldId id="433" r:id="rId10"/>
    <p:sldId id="434" r:id="rId11"/>
    <p:sldId id="435" r:id="rId12"/>
    <p:sldId id="428" r:id="rId13"/>
    <p:sldId id="429" r:id="rId14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xmlns:mv="urn:schemas-microsoft-com:mac:vml" xmlns:mc="http://schemas.openxmlformats.org/markup-compatibility/2006" val="0"/>
    </p:ext>
    <p:ext uri="{D31A062A-798A-4329-ABDD-BBA856620510}">
      <p14:defaultImageDpi xmlns="" xmlns:p14="http://schemas.microsoft.com/office/powerpoint/2010/main" xmlns:mv="urn:schemas-microsoft-com:mac:vml" xmlns:mc="http://schemas.openxmlformats.org/markup-compatibility/2006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588" autoAdjust="0"/>
    <p:restoredTop sz="98224" autoAdjust="0"/>
  </p:normalViewPr>
  <p:slideViewPr>
    <p:cSldViewPr>
      <p:cViewPr>
        <p:scale>
          <a:sx n="50" d="100"/>
          <a:sy n="50" d="100"/>
        </p:scale>
        <p:origin x="-12" y="-1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A05865-4863-4C73-AEB7-1F3686C9813E}" type="doc">
      <dgm:prSet loTypeId="urn:microsoft.com/office/officeart/2005/8/layout/lProcess2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C8D1DF4E-F76E-4775-AC2E-EAEF193D879C}">
      <dgm:prSet phldrT="[Text]"/>
      <dgm:spPr/>
      <dgm:t>
        <a:bodyPr/>
        <a:lstStyle/>
        <a:p>
          <a:r>
            <a:rPr lang="en-US" dirty="0" smtClean="0"/>
            <a:t>System Quality</a:t>
          </a:r>
          <a:endParaRPr lang="en-US" dirty="0"/>
        </a:p>
      </dgm:t>
    </dgm:pt>
    <dgm:pt modelId="{27784CF7-0B8E-4E9A-87B4-0D468D70B7C7}" type="parTrans" cxnId="{B4576730-E0F0-4111-BEF7-3E8A5A83C2C6}">
      <dgm:prSet/>
      <dgm:spPr/>
      <dgm:t>
        <a:bodyPr/>
        <a:lstStyle/>
        <a:p>
          <a:endParaRPr lang="en-US"/>
        </a:p>
      </dgm:t>
    </dgm:pt>
    <dgm:pt modelId="{46EE1548-E2A5-43A8-91AB-28F620D324C4}" type="sibTrans" cxnId="{B4576730-E0F0-4111-BEF7-3E8A5A83C2C6}">
      <dgm:prSet/>
      <dgm:spPr/>
      <dgm:t>
        <a:bodyPr/>
        <a:lstStyle/>
        <a:p>
          <a:endParaRPr lang="en-US"/>
        </a:p>
      </dgm:t>
    </dgm:pt>
    <dgm:pt modelId="{4C08D3EE-AF48-4937-BC8F-8B7D73E7564F}">
      <dgm:prSet phldrT="[Text]"/>
      <dgm:spPr/>
      <dgm:t>
        <a:bodyPr/>
        <a:lstStyle/>
        <a:p>
          <a:r>
            <a:rPr lang="en-US" b="1" dirty="0" smtClean="0">
              <a:solidFill>
                <a:schemeClr val="tx1"/>
              </a:solidFill>
            </a:rPr>
            <a:t>Availability</a:t>
          </a:r>
          <a:endParaRPr lang="en-US" b="1" dirty="0">
            <a:solidFill>
              <a:schemeClr val="tx1"/>
            </a:solidFill>
          </a:endParaRPr>
        </a:p>
      </dgm:t>
    </dgm:pt>
    <dgm:pt modelId="{BE7A13B5-95D3-49E2-AD0E-C6BD94589B64}" type="parTrans" cxnId="{210DCFE7-5DCB-43C2-8630-686388248E86}">
      <dgm:prSet/>
      <dgm:spPr/>
      <dgm:t>
        <a:bodyPr/>
        <a:lstStyle/>
        <a:p>
          <a:endParaRPr lang="en-US"/>
        </a:p>
      </dgm:t>
    </dgm:pt>
    <dgm:pt modelId="{0C0033F7-1408-480E-A962-DA6804AC3052}" type="sibTrans" cxnId="{210DCFE7-5DCB-43C2-8630-686388248E86}">
      <dgm:prSet/>
      <dgm:spPr/>
      <dgm:t>
        <a:bodyPr/>
        <a:lstStyle/>
        <a:p>
          <a:endParaRPr lang="en-US"/>
        </a:p>
      </dgm:t>
    </dgm:pt>
    <dgm:pt modelId="{BDBA7DCC-355E-42BC-B284-3F5D9471A7FC}">
      <dgm:prSet phldrT="[Text]"/>
      <dgm:spPr/>
      <dgm:t>
        <a:bodyPr/>
        <a:lstStyle/>
        <a:p>
          <a:r>
            <a:rPr lang="en-US" b="1" dirty="0" smtClean="0">
              <a:solidFill>
                <a:schemeClr val="tx1"/>
              </a:solidFill>
            </a:rPr>
            <a:t>Modifiability</a:t>
          </a:r>
          <a:endParaRPr lang="en-US" b="1" dirty="0">
            <a:solidFill>
              <a:schemeClr val="tx1"/>
            </a:solidFill>
          </a:endParaRPr>
        </a:p>
      </dgm:t>
    </dgm:pt>
    <dgm:pt modelId="{D0E8E3B7-9E67-48D5-B0EC-12AA0343685D}" type="parTrans" cxnId="{652AAF99-A36B-4F61-BC1D-F8FFF1E59C53}">
      <dgm:prSet/>
      <dgm:spPr/>
      <dgm:t>
        <a:bodyPr/>
        <a:lstStyle/>
        <a:p>
          <a:endParaRPr lang="en-US"/>
        </a:p>
      </dgm:t>
    </dgm:pt>
    <dgm:pt modelId="{A28A997F-35C6-4261-AA6A-C8041A8141A4}" type="sibTrans" cxnId="{652AAF99-A36B-4F61-BC1D-F8FFF1E59C53}">
      <dgm:prSet/>
      <dgm:spPr/>
      <dgm:t>
        <a:bodyPr/>
        <a:lstStyle/>
        <a:p>
          <a:endParaRPr lang="en-US"/>
        </a:p>
      </dgm:t>
    </dgm:pt>
    <dgm:pt modelId="{F0108E75-13B6-4BB9-98DB-6382A7133F8A}">
      <dgm:prSet phldrT="[Text]"/>
      <dgm:spPr/>
      <dgm:t>
        <a:bodyPr/>
        <a:lstStyle/>
        <a:p>
          <a:r>
            <a:rPr lang="en-US" dirty="0" smtClean="0"/>
            <a:t>Business Quality</a:t>
          </a:r>
          <a:endParaRPr lang="en-US" dirty="0"/>
        </a:p>
      </dgm:t>
    </dgm:pt>
    <dgm:pt modelId="{BEE14D61-425C-4CD7-8F9F-668621C32397}" type="parTrans" cxnId="{09818115-659C-4E8E-9DE1-3D5552AA7D12}">
      <dgm:prSet/>
      <dgm:spPr/>
      <dgm:t>
        <a:bodyPr/>
        <a:lstStyle/>
        <a:p>
          <a:endParaRPr lang="en-US"/>
        </a:p>
      </dgm:t>
    </dgm:pt>
    <dgm:pt modelId="{6F07FF31-F8C0-4F9A-86CD-A31017B2B7BE}" type="sibTrans" cxnId="{09818115-659C-4E8E-9DE1-3D5552AA7D12}">
      <dgm:prSet/>
      <dgm:spPr/>
      <dgm:t>
        <a:bodyPr/>
        <a:lstStyle/>
        <a:p>
          <a:endParaRPr lang="en-US"/>
        </a:p>
      </dgm:t>
    </dgm:pt>
    <dgm:pt modelId="{6D51D20D-B4AA-44F5-8822-13432EF19F07}">
      <dgm:prSet phldrT="[Text]"/>
      <dgm:spPr/>
      <dgm:t>
        <a:bodyPr/>
        <a:lstStyle/>
        <a:p>
          <a:r>
            <a:rPr lang="en-US" b="0" dirty="0" smtClean="0"/>
            <a:t>Time to market</a:t>
          </a:r>
          <a:endParaRPr lang="en-US" b="0" dirty="0"/>
        </a:p>
      </dgm:t>
    </dgm:pt>
    <dgm:pt modelId="{6D1AF599-65B3-4EFB-887D-3A02691FF537}" type="parTrans" cxnId="{E61049E7-FA11-4044-9912-5E4C290D2DF4}">
      <dgm:prSet/>
      <dgm:spPr/>
      <dgm:t>
        <a:bodyPr/>
        <a:lstStyle/>
        <a:p>
          <a:endParaRPr lang="en-US"/>
        </a:p>
      </dgm:t>
    </dgm:pt>
    <dgm:pt modelId="{87567CFA-1532-45FD-8F8C-829C0F91DB21}" type="sibTrans" cxnId="{E61049E7-FA11-4044-9912-5E4C290D2DF4}">
      <dgm:prSet/>
      <dgm:spPr/>
      <dgm:t>
        <a:bodyPr/>
        <a:lstStyle/>
        <a:p>
          <a:endParaRPr lang="en-US"/>
        </a:p>
      </dgm:t>
    </dgm:pt>
    <dgm:pt modelId="{E41FB32D-DFC8-4A18-8A09-008D946B3DB7}">
      <dgm:prSet phldrT="[Text]"/>
      <dgm:spPr/>
      <dgm:t>
        <a:bodyPr/>
        <a:lstStyle/>
        <a:p>
          <a:r>
            <a:rPr lang="en-US" dirty="0" smtClean="0"/>
            <a:t>Cost and benefit</a:t>
          </a:r>
          <a:endParaRPr lang="en-US" dirty="0"/>
        </a:p>
      </dgm:t>
    </dgm:pt>
    <dgm:pt modelId="{EAA95D6C-AB5F-41B9-B8B6-1B4A85FDE03E}" type="parTrans" cxnId="{D8E17C84-1AFD-4E57-BC06-966DD9EA9B5F}">
      <dgm:prSet/>
      <dgm:spPr/>
      <dgm:t>
        <a:bodyPr/>
        <a:lstStyle/>
        <a:p>
          <a:endParaRPr lang="en-US"/>
        </a:p>
      </dgm:t>
    </dgm:pt>
    <dgm:pt modelId="{65C7A182-C857-47D8-9CD0-96CA5646ADBF}" type="sibTrans" cxnId="{D8E17C84-1AFD-4E57-BC06-966DD9EA9B5F}">
      <dgm:prSet/>
      <dgm:spPr/>
      <dgm:t>
        <a:bodyPr/>
        <a:lstStyle/>
        <a:p>
          <a:endParaRPr lang="en-US"/>
        </a:p>
      </dgm:t>
    </dgm:pt>
    <dgm:pt modelId="{A2A31375-8212-4FC8-A6CA-ADE91BDC72A3}">
      <dgm:prSet phldrT="[Text]"/>
      <dgm:spPr/>
      <dgm:t>
        <a:bodyPr/>
        <a:lstStyle/>
        <a:p>
          <a:r>
            <a:rPr lang="en-US" dirty="0" smtClean="0"/>
            <a:t>Quality of Architecture</a:t>
          </a:r>
          <a:endParaRPr lang="en-US" dirty="0"/>
        </a:p>
      </dgm:t>
    </dgm:pt>
    <dgm:pt modelId="{48D17C35-CF22-44BD-9337-0AA72AEE5911}" type="parTrans" cxnId="{A4E6E17A-773C-44C8-91FC-6DF174816FFC}">
      <dgm:prSet/>
      <dgm:spPr/>
      <dgm:t>
        <a:bodyPr/>
        <a:lstStyle/>
        <a:p>
          <a:endParaRPr lang="en-US"/>
        </a:p>
      </dgm:t>
    </dgm:pt>
    <dgm:pt modelId="{ECA74A52-D464-429F-8EC4-6E3B99D438B0}" type="sibTrans" cxnId="{A4E6E17A-773C-44C8-91FC-6DF174816FFC}">
      <dgm:prSet/>
      <dgm:spPr/>
      <dgm:t>
        <a:bodyPr/>
        <a:lstStyle/>
        <a:p>
          <a:endParaRPr lang="en-US"/>
        </a:p>
      </dgm:t>
    </dgm:pt>
    <dgm:pt modelId="{484953EE-E5A0-44A7-8692-8227D98F11A4}">
      <dgm:prSet phldrT="[Text]"/>
      <dgm:spPr/>
      <dgm:t>
        <a:bodyPr/>
        <a:lstStyle/>
        <a:p>
          <a:r>
            <a:rPr lang="en-US" b="0" dirty="0" smtClean="0"/>
            <a:t>Conceptual Integrity</a:t>
          </a:r>
          <a:endParaRPr lang="en-US" b="0" dirty="0"/>
        </a:p>
      </dgm:t>
    </dgm:pt>
    <dgm:pt modelId="{A88C6C2F-6D43-4FC5-9982-77091252F772}" type="parTrans" cxnId="{78204DFB-683C-4531-93B5-45CB0E83154D}">
      <dgm:prSet/>
      <dgm:spPr/>
      <dgm:t>
        <a:bodyPr/>
        <a:lstStyle/>
        <a:p>
          <a:endParaRPr lang="en-US"/>
        </a:p>
      </dgm:t>
    </dgm:pt>
    <dgm:pt modelId="{30EB5B96-DE6C-4B83-BF0B-269D100AD782}" type="sibTrans" cxnId="{78204DFB-683C-4531-93B5-45CB0E83154D}">
      <dgm:prSet/>
      <dgm:spPr/>
      <dgm:t>
        <a:bodyPr/>
        <a:lstStyle/>
        <a:p>
          <a:endParaRPr lang="en-US"/>
        </a:p>
      </dgm:t>
    </dgm:pt>
    <dgm:pt modelId="{FFAB2035-E760-4A01-BB85-1FA1D1DB9D20}">
      <dgm:prSet phldrT="[Text]"/>
      <dgm:spPr/>
      <dgm:t>
        <a:bodyPr/>
        <a:lstStyle/>
        <a:p>
          <a:r>
            <a:rPr lang="en-US" dirty="0" err="1" smtClean="0"/>
            <a:t>Buildability</a:t>
          </a:r>
          <a:endParaRPr lang="en-US" dirty="0"/>
        </a:p>
      </dgm:t>
    </dgm:pt>
    <dgm:pt modelId="{D88E3348-702E-4821-8AA6-DE7CF46A943F}" type="parTrans" cxnId="{34A9BEC2-5006-4CCC-B99A-A4E0F62AB304}">
      <dgm:prSet/>
      <dgm:spPr/>
      <dgm:t>
        <a:bodyPr/>
        <a:lstStyle/>
        <a:p>
          <a:endParaRPr lang="en-US"/>
        </a:p>
      </dgm:t>
    </dgm:pt>
    <dgm:pt modelId="{BE0BF798-7E9C-44FD-BF64-BAF63FD57A26}" type="sibTrans" cxnId="{34A9BEC2-5006-4CCC-B99A-A4E0F62AB304}">
      <dgm:prSet/>
      <dgm:spPr/>
      <dgm:t>
        <a:bodyPr/>
        <a:lstStyle/>
        <a:p>
          <a:endParaRPr lang="en-US"/>
        </a:p>
      </dgm:t>
    </dgm:pt>
    <dgm:pt modelId="{1EA22120-137D-4508-9421-76E451C32E56}">
      <dgm:prSet phldrT="[Text]"/>
      <dgm:spPr/>
      <dgm:t>
        <a:bodyPr/>
        <a:lstStyle/>
        <a:p>
          <a:r>
            <a:rPr lang="en-US" b="1" dirty="0" smtClean="0">
              <a:solidFill>
                <a:schemeClr val="tx1"/>
              </a:solidFill>
            </a:rPr>
            <a:t>Performance</a:t>
          </a:r>
          <a:endParaRPr lang="en-US" b="1" dirty="0">
            <a:solidFill>
              <a:schemeClr val="tx1"/>
            </a:solidFill>
          </a:endParaRPr>
        </a:p>
      </dgm:t>
    </dgm:pt>
    <dgm:pt modelId="{D27A61D1-A56F-4D58-A662-DA7A3EBB6F87}" type="parTrans" cxnId="{078B2CBB-0343-4224-A1E6-6B55DC77D44C}">
      <dgm:prSet/>
      <dgm:spPr/>
      <dgm:t>
        <a:bodyPr/>
        <a:lstStyle/>
        <a:p>
          <a:endParaRPr lang="en-US"/>
        </a:p>
      </dgm:t>
    </dgm:pt>
    <dgm:pt modelId="{52CEA4AF-9DB1-4E9B-A353-792E3B412FD5}" type="sibTrans" cxnId="{078B2CBB-0343-4224-A1E6-6B55DC77D44C}">
      <dgm:prSet/>
      <dgm:spPr/>
      <dgm:t>
        <a:bodyPr/>
        <a:lstStyle/>
        <a:p>
          <a:endParaRPr lang="en-US"/>
        </a:p>
      </dgm:t>
    </dgm:pt>
    <dgm:pt modelId="{2E8BE092-B1F9-42A3-ADFB-F77ED4CC551E}">
      <dgm:prSet phldrT="[Text]"/>
      <dgm:spPr/>
      <dgm:t>
        <a:bodyPr/>
        <a:lstStyle/>
        <a:p>
          <a:r>
            <a:rPr lang="en-US" b="1" dirty="0" smtClean="0">
              <a:solidFill>
                <a:schemeClr val="tx1"/>
              </a:solidFill>
            </a:rPr>
            <a:t>Security</a:t>
          </a:r>
          <a:endParaRPr lang="en-US" b="1" dirty="0">
            <a:solidFill>
              <a:schemeClr val="tx1"/>
            </a:solidFill>
          </a:endParaRPr>
        </a:p>
      </dgm:t>
    </dgm:pt>
    <dgm:pt modelId="{1178F785-3EF4-43AC-9853-6DB4F3903C2B}" type="parTrans" cxnId="{CB777C08-520F-4F8A-874F-AC213E92D8F2}">
      <dgm:prSet/>
      <dgm:spPr/>
      <dgm:t>
        <a:bodyPr/>
        <a:lstStyle/>
        <a:p>
          <a:endParaRPr lang="en-US"/>
        </a:p>
      </dgm:t>
    </dgm:pt>
    <dgm:pt modelId="{ADF141F0-3809-456E-AFFA-99AB7F27B272}" type="sibTrans" cxnId="{CB777C08-520F-4F8A-874F-AC213E92D8F2}">
      <dgm:prSet/>
      <dgm:spPr/>
      <dgm:t>
        <a:bodyPr/>
        <a:lstStyle/>
        <a:p>
          <a:endParaRPr lang="en-US"/>
        </a:p>
      </dgm:t>
    </dgm:pt>
    <dgm:pt modelId="{9FD7B6D0-C224-41F8-9146-53E9229D24E8}">
      <dgm:prSet phldrT="[Text]"/>
      <dgm:spPr/>
      <dgm:t>
        <a:bodyPr/>
        <a:lstStyle/>
        <a:p>
          <a:r>
            <a:rPr lang="en-US" b="1" dirty="0" smtClean="0">
              <a:solidFill>
                <a:schemeClr val="tx1"/>
              </a:solidFill>
            </a:rPr>
            <a:t>Usability</a:t>
          </a:r>
          <a:endParaRPr lang="en-US" b="1" dirty="0">
            <a:solidFill>
              <a:schemeClr val="tx1"/>
            </a:solidFill>
          </a:endParaRPr>
        </a:p>
      </dgm:t>
    </dgm:pt>
    <dgm:pt modelId="{BF359DC8-4B4B-41BD-851D-5CFEEDDC9F32}" type="parTrans" cxnId="{0984AEB3-CCE5-4999-BBA1-B5D15AA9DCF3}">
      <dgm:prSet/>
      <dgm:spPr/>
      <dgm:t>
        <a:bodyPr/>
        <a:lstStyle/>
        <a:p>
          <a:endParaRPr lang="en-US"/>
        </a:p>
      </dgm:t>
    </dgm:pt>
    <dgm:pt modelId="{CA0496DD-6775-4178-A5CD-F47FA9DC521A}" type="sibTrans" cxnId="{0984AEB3-CCE5-4999-BBA1-B5D15AA9DCF3}">
      <dgm:prSet/>
      <dgm:spPr/>
      <dgm:t>
        <a:bodyPr/>
        <a:lstStyle/>
        <a:p>
          <a:endParaRPr lang="en-US"/>
        </a:p>
      </dgm:t>
    </dgm:pt>
    <dgm:pt modelId="{FF08E916-6AAA-4FC8-9D98-59275C3CDE2D}">
      <dgm:prSet phldrT="[Text]"/>
      <dgm:spPr/>
      <dgm:t>
        <a:bodyPr/>
        <a:lstStyle/>
        <a:p>
          <a:r>
            <a:rPr lang="en-US" b="1" dirty="0" smtClean="0">
              <a:solidFill>
                <a:schemeClr val="tx1"/>
              </a:solidFill>
            </a:rPr>
            <a:t>Testability</a:t>
          </a:r>
          <a:endParaRPr lang="en-US" b="1" dirty="0">
            <a:solidFill>
              <a:schemeClr val="tx1"/>
            </a:solidFill>
          </a:endParaRPr>
        </a:p>
      </dgm:t>
    </dgm:pt>
    <dgm:pt modelId="{9B9B4C58-3ED0-4EDF-B6C2-BEBEF09EC39E}" type="parTrans" cxnId="{8602F9F5-E8CB-4019-8D5F-25BB9E93D55F}">
      <dgm:prSet/>
      <dgm:spPr/>
      <dgm:t>
        <a:bodyPr/>
        <a:lstStyle/>
        <a:p>
          <a:endParaRPr lang="en-US"/>
        </a:p>
      </dgm:t>
    </dgm:pt>
    <dgm:pt modelId="{3E8C6A1D-7C48-4066-B3EE-B6310E00E99F}" type="sibTrans" cxnId="{8602F9F5-E8CB-4019-8D5F-25BB9E93D55F}">
      <dgm:prSet/>
      <dgm:spPr/>
      <dgm:t>
        <a:bodyPr/>
        <a:lstStyle/>
        <a:p>
          <a:endParaRPr lang="en-US"/>
        </a:p>
      </dgm:t>
    </dgm:pt>
    <dgm:pt modelId="{BE02A524-FA54-4C20-BF4D-CDDA8305B91E}">
      <dgm:prSet phldrT="[Text]"/>
      <dgm:spPr/>
      <dgm:t>
        <a:bodyPr/>
        <a:lstStyle/>
        <a:p>
          <a:r>
            <a:rPr lang="en-US" dirty="0" smtClean="0"/>
            <a:t>Project lifetime</a:t>
          </a:r>
          <a:endParaRPr lang="en-US" dirty="0"/>
        </a:p>
      </dgm:t>
    </dgm:pt>
    <dgm:pt modelId="{AC91A558-5C99-444A-817C-201E6995243C}" type="parTrans" cxnId="{305A8E8D-5B5E-439A-B04C-ADF4910C6412}">
      <dgm:prSet/>
      <dgm:spPr/>
      <dgm:t>
        <a:bodyPr/>
        <a:lstStyle/>
        <a:p>
          <a:endParaRPr lang="en-US"/>
        </a:p>
      </dgm:t>
    </dgm:pt>
    <dgm:pt modelId="{A9019DF0-4843-4E34-93DA-7FB33755FFB0}" type="sibTrans" cxnId="{305A8E8D-5B5E-439A-B04C-ADF4910C6412}">
      <dgm:prSet/>
      <dgm:spPr/>
      <dgm:t>
        <a:bodyPr/>
        <a:lstStyle/>
        <a:p>
          <a:endParaRPr lang="en-US"/>
        </a:p>
      </dgm:t>
    </dgm:pt>
    <dgm:pt modelId="{4DA59F50-A082-40D7-A2F6-C258B17EF694}">
      <dgm:prSet phldrT="[Text]"/>
      <dgm:spPr/>
      <dgm:t>
        <a:bodyPr/>
        <a:lstStyle/>
        <a:p>
          <a:r>
            <a:rPr lang="en-US" dirty="0" smtClean="0"/>
            <a:t>Targeted market</a:t>
          </a:r>
          <a:endParaRPr lang="en-US" dirty="0"/>
        </a:p>
      </dgm:t>
    </dgm:pt>
    <dgm:pt modelId="{57F79E7C-5701-449C-BC7E-33AC44EFEEEA}" type="parTrans" cxnId="{0A3A4113-AF90-439A-80A3-E4FEDA9F957C}">
      <dgm:prSet/>
      <dgm:spPr/>
      <dgm:t>
        <a:bodyPr/>
        <a:lstStyle/>
        <a:p>
          <a:endParaRPr lang="en-US"/>
        </a:p>
      </dgm:t>
    </dgm:pt>
    <dgm:pt modelId="{30E00DDC-2B6B-4054-91A1-A4691DAA0BF8}" type="sibTrans" cxnId="{0A3A4113-AF90-439A-80A3-E4FEDA9F957C}">
      <dgm:prSet/>
      <dgm:spPr/>
      <dgm:t>
        <a:bodyPr/>
        <a:lstStyle/>
        <a:p>
          <a:endParaRPr lang="en-US"/>
        </a:p>
      </dgm:t>
    </dgm:pt>
    <dgm:pt modelId="{756476DC-3E65-44DB-8A8F-3D896E90178F}">
      <dgm:prSet phldrT="[Text]"/>
      <dgm:spPr/>
      <dgm:t>
        <a:bodyPr/>
        <a:lstStyle/>
        <a:p>
          <a:r>
            <a:rPr lang="en-US" dirty="0" smtClean="0"/>
            <a:t>Rollout schedule</a:t>
          </a:r>
          <a:endParaRPr lang="en-US" dirty="0"/>
        </a:p>
      </dgm:t>
    </dgm:pt>
    <dgm:pt modelId="{DEFD2A94-B7A8-4E4E-8183-D69E3E9BD517}" type="parTrans" cxnId="{D4DCA4C1-51CB-4613-AE6D-64A063B409B4}">
      <dgm:prSet/>
      <dgm:spPr/>
      <dgm:t>
        <a:bodyPr/>
        <a:lstStyle/>
        <a:p>
          <a:endParaRPr lang="en-US"/>
        </a:p>
      </dgm:t>
    </dgm:pt>
    <dgm:pt modelId="{995F8215-43D1-4833-BD50-18D1FC1ECD4D}" type="sibTrans" cxnId="{D4DCA4C1-51CB-4613-AE6D-64A063B409B4}">
      <dgm:prSet/>
      <dgm:spPr/>
      <dgm:t>
        <a:bodyPr/>
        <a:lstStyle/>
        <a:p>
          <a:endParaRPr lang="en-US"/>
        </a:p>
      </dgm:t>
    </dgm:pt>
    <dgm:pt modelId="{FD6B0408-461F-49B9-87F8-569779FE2DC9}">
      <dgm:prSet phldrT="[Text]"/>
      <dgm:spPr/>
      <dgm:t>
        <a:bodyPr/>
        <a:lstStyle/>
        <a:p>
          <a:r>
            <a:rPr lang="en-US" dirty="0" smtClean="0"/>
            <a:t>Legacy integration</a:t>
          </a:r>
          <a:endParaRPr lang="en-US" dirty="0"/>
        </a:p>
      </dgm:t>
    </dgm:pt>
    <dgm:pt modelId="{503CF6FF-B035-4FF2-AD9F-38B4BB570206}" type="parTrans" cxnId="{78600050-A6AB-4002-B03B-8A34355C7F01}">
      <dgm:prSet/>
      <dgm:spPr/>
      <dgm:t>
        <a:bodyPr/>
        <a:lstStyle/>
        <a:p>
          <a:endParaRPr lang="en-US"/>
        </a:p>
      </dgm:t>
    </dgm:pt>
    <dgm:pt modelId="{6D751CA7-999D-4253-83F5-C1C38F75A96A}" type="sibTrans" cxnId="{78600050-A6AB-4002-B03B-8A34355C7F01}">
      <dgm:prSet/>
      <dgm:spPr/>
      <dgm:t>
        <a:bodyPr/>
        <a:lstStyle/>
        <a:p>
          <a:endParaRPr lang="en-US"/>
        </a:p>
      </dgm:t>
    </dgm:pt>
    <dgm:pt modelId="{7DF58CA2-B76E-4D44-A56E-D7F77C52B8F7}">
      <dgm:prSet phldrT="[Text]"/>
      <dgm:spPr/>
      <dgm:t>
        <a:bodyPr/>
        <a:lstStyle/>
        <a:p>
          <a:r>
            <a:rPr lang="en-US" dirty="0" smtClean="0"/>
            <a:t>Correctness</a:t>
          </a:r>
          <a:endParaRPr lang="en-US" dirty="0"/>
        </a:p>
      </dgm:t>
    </dgm:pt>
    <dgm:pt modelId="{2EB43E07-B036-4005-9031-E3289908DF15}" type="parTrans" cxnId="{AA628416-B5BF-46F7-9D27-2F733E6BD791}">
      <dgm:prSet/>
      <dgm:spPr/>
      <dgm:t>
        <a:bodyPr/>
        <a:lstStyle/>
        <a:p>
          <a:endParaRPr lang="en-US"/>
        </a:p>
      </dgm:t>
    </dgm:pt>
    <dgm:pt modelId="{B170C848-088D-4E88-9BB2-76F4172E0DAF}" type="sibTrans" cxnId="{AA628416-B5BF-46F7-9D27-2F733E6BD791}">
      <dgm:prSet/>
      <dgm:spPr/>
      <dgm:t>
        <a:bodyPr/>
        <a:lstStyle/>
        <a:p>
          <a:endParaRPr lang="en-US"/>
        </a:p>
      </dgm:t>
    </dgm:pt>
    <dgm:pt modelId="{342D9EBD-4B7F-44A4-9150-BE714A3EBB9B}">
      <dgm:prSet/>
      <dgm:spPr/>
      <dgm:t>
        <a:bodyPr/>
        <a:lstStyle/>
        <a:p>
          <a:r>
            <a:rPr lang="en-US" dirty="0" smtClean="0"/>
            <a:t>completeness</a:t>
          </a:r>
          <a:endParaRPr lang="en-US" dirty="0"/>
        </a:p>
      </dgm:t>
    </dgm:pt>
    <dgm:pt modelId="{109938C5-6177-48C8-89EE-055B4CB478FE}" type="parTrans" cxnId="{5F3A5C00-D384-4D2D-BC1E-05C751A87ADF}">
      <dgm:prSet/>
      <dgm:spPr/>
      <dgm:t>
        <a:bodyPr/>
        <a:lstStyle/>
        <a:p>
          <a:endParaRPr lang="en-US"/>
        </a:p>
      </dgm:t>
    </dgm:pt>
    <dgm:pt modelId="{107E72EE-E380-4F08-8619-362D7031B74E}" type="sibTrans" cxnId="{5F3A5C00-D384-4D2D-BC1E-05C751A87ADF}">
      <dgm:prSet/>
      <dgm:spPr/>
      <dgm:t>
        <a:bodyPr/>
        <a:lstStyle/>
        <a:p>
          <a:endParaRPr lang="en-US"/>
        </a:p>
      </dgm:t>
    </dgm:pt>
    <dgm:pt modelId="{017ED3EB-434C-4879-9E16-C1DB0BB383F3}" type="pres">
      <dgm:prSet presAssocID="{F7A05865-4863-4C73-AEB7-1F3686C9813E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9940B1C-7214-448A-ADB3-A6366EFE01F0}" type="pres">
      <dgm:prSet presAssocID="{C8D1DF4E-F76E-4775-AC2E-EAEF193D879C}" presName="compNode" presStyleCnt="0"/>
      <dgm:spPr/>
    </dgm:pt>
    <dgm:pt modelId="{84783A7C-174C-4261-AE35-B8F22E3EA6E7}" type="pres">
      <dgm:prSet presAssocID="{C8D1DF4E-F76E-4775-AC2E-EAEF193D879C}" presName="aNode" presStyleLbl="bgShp" presStyleIdx="0" presStyleCnt="3"/>
      <dgm:spPr/>
      <dgm:t>
        <a:bodyPr/>
        <a:lstStyle/>
        <a:p>
          <a:endParaRPr lang="en-US"/>
        </a:p>
      </dgm:t>
    </dgm:pt>
    <dgm:pt modelId="{C42D8985-E4C5-4A8E-BDB8-9FE9459935F5}" type="pres">
      <dgm:prSet presAssocID="{C8D1DF4E-F76E-4775-AC2E-EAEF193D879C}" presName="textNode" presStyleLbl="bgShp" presStyleIdx="0" presStyleCnt="3"/>
      <dgm:spPr/>
      <dgm:t>
        <a:bodyPr/>
        <a:lstStyle/>
        <a:p>
          <a:endParaRPr lang="en-US"/>
        </a:p>
      </dgm:t>
    </dgm:pt>
    <dgm:pt modelId="{AECC9E06-2444-4043-8888-E611D91F98C0}" type="pres">
      <dgm:prSet presAssocID="{C8D1DF4E-F76E-4775-AC2E-EAEF193D879C}" presName="compChildNode" presStyleCnt="0"/>
      <dgm:spPr/>
    </dgm:pt>
    <dgm:pt modelId="{06AD285C-38C6-4CBD-9D79-BF2E1420E11D}" type="pres">
      <dgm:prSet presAssocID="{C8D1DF4E-F76E-4775-AC2E-EAEF193D879C}" presName="theInnerList" presStyleCnt="0"/>
      <dgm:spPr/>
    </dgm:pt>
    <dgm:pt modelId="{142ACBD7-E1A2-4A0F-AB9F-C5D4F72ED833}" type="pres">
      <dgm:prSet presAssocID="{4C08D3EE-AF48-4937-BC8F-8B7D73E7564F}" presName="childNode" presStyleLbl="node1" presStyleIdx="0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179C6B7-0A64-4330-81A9-157198A14982}" type="pres">
      <dgm:prSet presAssocID="{4C08D3EE-AF48-4937-BC8F-8B7D73E7564F}" presName="aSpace2" presStyleCnt="0"/>
      <dgm:spPr/>
    </dgm:pt>
    <dgm:pt modelId="{B215B456-D685-4ACC-808E-CC2B8DB5E036}" type="pres">
      <dgm:prSet presAssocID="{BDBA7DCC-355E-42BC-B284-3F5D9471A7FC}" presName="childNode" presStyleLbl="node1" presStyleIdx="1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1D56F3A-95A9-4371-8C21-60728FFC1562}" type="pres">
      <dgm:prSet presAssocID="{BDBA7DCC-355E-42BC-B284-3F5D9471A7FC}" presName="aSpace2" presStyleCnt="0"/>
      <dgm:spPr/>
    </dgm:pt>
    <dgm:pt modelId="{678406F9-0B84-4F67-A51F-439C0E97E476}" type="pres">
      <dgm:prSet presAssocID="{1EA22120-137D-4508-9421-76E451C32E56}" presName="childNode" presStyleLbl="node1" presStyleIdx="2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B58694-071C-463B-AB80-8EEF5B6633EF}" type="pres">
      <dgm:prSet presAssocID="{1EA22120-137D-4508-9421-76E451C32E56}" presName="aSpace2" presStyleCnt="0"/>
      <dgm:spPr/>
    </dgm:pt>
    <dgm:pt modelId="{381FC751-3918-433C-AF88-8FD7E3F99930}" type="pres">
      <dgm:prSet presAssocID="{2E8BE092-B1F9-42A3-ADFB-F77ED4CC551E}" presName="childNode" presStyleLbl="node1" presStyleIdx="3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CA5175C-BC88-4A26-96A7-7647E61EEEED}" type="pres">
      <dgm:prSet presAssocID="{2E8BE092-B1F9-42A3-ADFB-F77ED4CC551E}" presName="aSpace2" presStyleCnt="0"/>
      <dgm:spPr/>
    </dgm:pt>
    <dgm:pt modelId="{7226CAA6-7B46-4760-BA96-6800727D20BB}" type="pres">
      <dgm:prSet presAssocID="{FF08E916-6AAA-4FC8-9D98-59275C3CDE2D}" presName="childNode" presStyleLbl="node1" presStyleIdx="4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347E5A-8196-42F3-A876-A5980FE5E2C2}" type="pres">
      <dgm:prSet presAssocID="{FF08E916-6AAA-4FC8-9D98-59275C3CDE2D}" presName="aSpace2" presStyleCnt="0"/>
      <dgm:spPr/>
    </dgm:pt>
    <dgm:pt modelId="{96AE634F-D0EF-4A87-B26C-D55AE4DABB7D}" type="pres">
      <dgm:prSet presAssocID="{9FD7B6D0-C224-41F8-9146-53E9229D24E8}" presName="childNode" presStyleLbl="node1" presStyleIdx="5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5117D5B-7CD6-4B7E-83CE-D3CAAD23C803}" type="pres">
      <dgm:prSet presAssocID="{C8D1DF4E-F76E-4775-AC2E-EAEF193D879C}" presName="aSpace" presStyleCnt="0"/>
      <dgm:spPr/>
    </dgm:pt>
    <dgm:pt modelId="{A8FF5C23-94C5-4D84-A2E1-598B2226AD02}" type="pres">
      <dgm:prSet presAssocID="{F0108E75-13B6-4BB9-98DB-6382A7133F8A}" presName="compNode" presStyleCnt="0"/>
      <dgm:spPr/>
    </dgm:pt>
    <dgm:pt modelId="{C2EA1DFA-A78A-4C5E-888D-B45ECBB7CFAC}" type="pres">
      <dgm:prSet presAssocID="{F0108E75-13B6-4BB9-98DB-6382A7133F8A}" presName="aNode" presStyleLbl="bgShp" presStyleIdx="1" presStyleCnt="3"/>
      <dgm:spPr/>
      <dgm:t>
        <a:bodyPr/>
        <a:lstStyle/>
        <a:p>
          <a:endParaRPr lang="en-US"/>
        </a:p>
      </dgm:t>
    </dgm:pt>
    <dgm:pt modelId="{C0A1013E-5C54-4332-AC7F-7A566ADDBA13}" type="pres">
      <dgm:prSet presAssocID="{F0108E75-13B6-4BB9-98DB-6382A7133F8A}" presName="textNode" presStyleLbl="bgShp" presStyleIdx="1" presStyleCnt="3"/>
      <dgm:spPr/>
      <dgm:t>
        <a:bodyPr/>
        <a:lstStyle/>
        <a:p>
          <a:endParaRPr lang="en-US"/>
        </a:p>
      </dgm:t>
    </dgm:pt>
    <dgm:pt modelId="{1B90FDEF-0DFD-4317-B912-772FCCFF619C}" type="pres">
      <dgm:prSet presAssocID="{F0108E75-13B6-4BB9-98DB-6382A7133F8A}" presName="compChildNode" presStyleCnt="0"/>
      <dgm:spPr/>
    </dgm:pt>
    <dgm:pt modelId="{3D9AA508-F5D2-4126-B3B3-09389B11F500}" type="pres">
      <dgm:prSet presAssocID="{F0108E75-13B6-4BB9-98DB-6382A7133F8A}" presName="theInnerList" presStyleCnt="0"/>
      <dgm:spPr/>
    </dgm:pt>
    <dgm:pt modelId="{09F78D94-8018-4C8F-A097-38351F4D6FE0}" type="pres">
      <dgm:prSet presAssocID="{6D51D20D-B4AA-44F5-8822-13432EF19F07}" presName="childNode" presStyleLbl="node1" presStyleIdx="6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54DA71C-91A0-4F54-A08F-934591128E76}" type="pres">
      <dgm:prSet presAssocID="{6D51D20D-B4AA-44F5-8822-13432EF19F07}" presName="aSpace2" presStyleCnt="0"/>
      <dgm:spPr/>
    </dgm:pt>
    <dgm:pt modelId="{01D89F89-A9EA-437C-8CA9-FDCBE0105536}" type="pres">
      <dgm:prSet presAssocID="{E41FB32D-DFC8-4A18-8A09-008D946B3DB7}" presName="childNode" presStyleLbl="node1" presStyleIdx="7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7D52189-C9F3-4CCA-98E3-5988EC29B8CA}" type="pres">
      <dgm:prSet presAssocID="{E41FB32D-DFC8-4A18-8A09-008D946B3DB7}" presName="aSpace2" presStyleCnt="0"/>
      <dgm:spPr/>
    </dgm:pt>
    <dgm:pt modelId="{3421998F-D017-48B1-A46C-C918645CF4F6}" type="pres">
      <dgm:prSet presAssocID="{BE02A524-FA54-4C20-BF4D-CDDA8305B91E}" presName="childNode" presStyleLbl="node1" presStyleIdx="8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4209A70-989D-4E79-8C3D-A52590BAD9EA}" type="pres">
      <dgm:prSet presAssocID="{BE02A524-FA54-4C20-BF4D-CDDA8305B91E}" presName="aSpace2" presStyleCnt="0"/>
      <dgm:spPr/>
    </dgm:pt>
    <dgm:pt modelId="{4EACF501-C421-43C7-9F55-E744C605193E}" type="pres">
      <dgm:prSet presAssocID="{4DA59F50-A082-40D7-A2F6-C258B17EF694}" presName="childNode" presStyleLbl="node1" presStyleIdx="9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4391942-FA04-4F18-AE50-A6901D06435C}" type="pres">
      <dgm:prSet presAssocID="{4DA59F50-A082-40D7-A2F6-C258B17EF694}" presName="aSpace2" presStyleCnt="0"/>
      <dgm:spPr/>
    </dgm:pt>
    <dgm:pt modelId="{E4D1FC4D-9158-4DC5-8CD1-A7624CA88DA3}" type="pres">
      <dgm:prSet presAssocID="{756476DC-3E65-44DB-8A8F-3D896E90178F}" presName="childNode" presStyleLbl="node1" presStyleIdx="10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2D9616B-87E1-425A-8055-C858699F95A0}" type="pres">
      <dgm:prSet presAssocID="{756476DC-3E65-44DB-8A8F-3D896E90178F}" presName="aSpace2" presStyleCnt="0"/>
      <dgm:spPr/>
    </dgm:pt>
    <dgm:pt modelId="{FAAC9442-A6D1-4316-982F-23426466EC5A}" type="pres">
      <dgm:prSet presAssocID="{FD6B0408-461F-49B9-87F8-569779FE2DC9}" presName="childNode" presStyleLbl="node1" presStyleIdx="11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29A7BF-2CCE-419E-AD4B-14086258066B}" type="pres">
      <dgm:prSet presAssocID="{F0108E75-13B6-4BB9-98DB-6382A7133F8A}" presName="aSpace" presStyleCnt="0"/>
      <dgm:spPr/>
    </dgm:pt>
    <dgm:pt modelId="{F98B1017-9F6D-40A7-8FCA-0610B7F56C31}" type="pres">
      <dgm:prSet presAssocID="{A2A31375-8212-4FC8-A6CA-ADE91BDC72A3}" presName="compNode" presStyleCnt="0"/>
      <dgm:spPr/>
    </dgm:pt>
    <dgm:pt modelId="{2B77E2F5-1346-4034-87BA-2480C596A284}" type="pres">
      <dgm:prSet presAssocID="{A2A31375-8212-4FC8-A6CA-ADE91BDC72A3}" presName="aNode" presStyleLbl="bgShp" presStyleIdx="2" presStyleCnt="3"/>
      <dgm:spPr/>
      <dgm:t>
        <a:bodyPr/>
        <a:lstStyle/>
        <a:p>
          <a:endParaRPr lang="en-US"/>
        </a:p>
      </dgm:t>
    </dgm:pt>
    <dgm:pt modelId="{0794044B-84A9-434B-B9FD-6F948D3C55AC}" type="pres">
      <dgm:prSet presAssocID="{A2A31375-8212-4FC8-A6CA-ADE91BDC72A3}" presName="textNode" presStyleLbl="bgShp" presStyleIdx="2" presStyleCnt="3"/>
      <dgm:spPr/>
      <dgm:t>
        <a:bodyPr/>
        <a:lstStyle/>
        <a:p>
          <a:endParaRPr lang="en-US"/>
        </a:p>
      </dgm:t>
    </dgm:pt>
    <dgm:pt modelId="{7C268240-623B-4AD2-AE7F-21B3AF33FD56}" type="pres">
      <dgm:prSet presAssocID="{A2A31375-8212-4FC8-A6CA-ADE91BDC72A3}" presName="compChildNode" presStyleCnt="0"/>
      <dgm:spPr/>
    </dgm:pt>
    <dgm:pt modelId="{76F237F9-02D2-4C66-978F-C26114E9EA05}" type="pres">
      <dgm:prSet presAssocID="{A2A31375-8212-4FC8-A6CA-ADE91BDC72A3}" presName="theInnerList" presStyleCnt="0"/>
      <dgm:spPr/>
    </dgm:pt>
    <dgm:pt modelId="{7744BB61-1AC4-44F0-AFFE-ED763612E2C0}" type="pres">
      <dgm:prSet presAssocID="{484953EE-E5A0-44A7-8692-8227D98F11A4}" presName="childNode" presStyleLbl="node1" presStyleIdx="12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C88062C-0E5C-4D04-BD39-3E8AD91E48EF}" type="pres">
      <dgm:prSet presAssocID="{484953EE-E5A0-44A7-8692-8227D98F11A4}" presName="aSpace2" presStyleCnt="0"/>
      <dgm:spPr/>
    </dgm:pt>
    <dgm:pt modelId="{B86527D0-D365-4205-B1BB-E76B69F611FA}" type="pres">
      <dgm:prSet presAssocID="{7DF58CA2-B76E-4D44-A56E-D7F77C52B8F7}" presName="childNode" presStyleLbl="node1" presStyleIdx="13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A67BAFE-24F4-4B9C-8F8D-6D01489DB90D}" type="pres">
      <dgm:prSet presAssocID="{7DF58CA2-B76E-4D44-A56E-D7F77C52B8F7}" presName="aSpace2" presStyleCnt="0"/>
      <dgm:spPr/>
    </dgm:pt>
    <dgm:pt modelId="{261C7135-9109-4506-8608-DB28763C6FFF}" type="pres">
      <dgm:prSet presAssocID="{342D9EBD-4B7F-44A4-9150-BE714A3EBB9B}" presName="childNode" presStyleLbl="node1" presStyleIdx="14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421F27E-96A4-4D79-8328-553305583311}" type="pres">
      <dgm:prSet presAssocID="{342D9EBD-4B7F-44A4-9150-BE714A3EBB9B}" presName="aSpace2" presStyleCnt="0"/>
      <dgm:spPr/>
    </dgm:pt>
    <dgm:pt modelId="{6A3AA0FC-1FF9-4606-BBC6-4E448ABEE738}" type="pres">
      <dgm:prSet presAssocID="{FFAB2035-E760-4A01-BB85-1FA1D1DB9D20}" presName="childNode" presStyleLbl="node1" presStyleIdx="15" presStyleCnt="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4A9BEC2-5006-4CCC-B99A-A4E0F62AB304}" srcId="{A2A31375-8212-4FC8-A6CA-ADE91BDC72A3}" destId="{FFAB2035-E760-4A01-BB85-1FA1D1DB9D20}" srcOrd="3" destOrd="0" parTransId="{D88E3348-702E-4821-8AA6-DE7CF46A943F}" sibTransId="{BE0BF798-7E9C-44FD-BF64-BAF63FD57A26}"/>
    <dgm:cxn modelId="{D4DCA4C1-51CB-4613-AE6D-64A063B409B4}" srcId="{F0108E75-13B6-4BB9-98DB-6382A7133F8A}" destId="{756476DC-3E65-44DB-8A8F-3D896E90178F}" srcOrd="4" destOrd="0" parTransId="{DEFD2A94-B7A8-4E4E-8183-D69E3E9BD517}" sibTransId="{995F8215-43D1-4833-BD50-18D1FC1ECD4D}"/>
    <dgm:cxn modelId="{DD3E73D4-0673-4673-AB59-B94B95969DC0}" type="presOf" srcId="{F0108E75-13B6-4BB9-98DB-6382A7133F8A}" destId="{C2EA1DFA-A78A-4C5E-888D-B45ECBB7CFAC}" srcOrd="0" destOrd="0" presId="urn:microsoft.com/office/officeart/2005/8/layout/lProcess2"/>
    <dgm:cxn modelId="{305A8E8D-5B5E-439A-B04C-ADF4910C6412}" srcId="{F0108E75-13B6-4BB9-98DB-6382A7133F8A}" destId="{BE02A524-FA54-4C20-BF4D-CDDA8305B91E}" srcOrd="2" destOrd="0" parTransId="{AC91A558-5C99-444A-817C-201E6995243C}" sibTransId="{A9019DF0-4843-4E34-93DA-7FB33755FFB0}"/>
    <dgm:cxn modelId="{C7808F65-DF9D-4506-BAD8-B3BEE018760E}" type="presOf" srcId="{4DA59F50-A082-40D7-A2F6-C258B17EF694}" destId="{4EACF501-C421-43C7-9F55-E744C605193E}" srcOrd="0" destOrd="0" presId="urn:microsoft.com/office/officeart/2005/8/layout/lProcess2"/>
    <dgm:cxn modelId="{909ECA98-96D8-4DE3-80FD-DC4B3A6B7FA6}" type="presOf" srcId="{756476DC-3E65-44DB-8A8F-3D896E90178F}" destId="{E4D1FC4D-9158-4DC5-8CD1-A7624CA88DA3}" srcOrd="0" destOrd="0" presId="urn:microsoft.com/office/officeart/2005/8/layout/lProcess2"/>
    <dgm:cxn modelId="{DBD3EC40-9BC0-4AF9-819D-EEE05EA8415A}" type="presOf" srcId="{FD6B0408-461F-49B9-87F8-569779FE2DC9}" destId="{FAAC9442-A6D1-4316-982F-23426466EC5A}" srcOrd="0" destOrd="0" presId="urn:microsoft.com/office/officeart/2005/8/layout/lProcess2"/>
    <dgm:cxn modelId="{0A3A4113-AF90-439A-80A3-E4FEDA9F957C}" srcId="{F0108E75-13B6-4BB9-98DB-6382A7133F8A}" destId="{4DA59F50-A082-40D7-A2F6-C258B17EF694}" srcOrd="3" destOrd="0" parTransId="{57F79E7C-5701-449C-BC7E-33AC44EFEEEA}" sibTransId="{30E00DDC-2B6B-4054-91A1-A4691DAA0BF8}"/>
    <dgm:cxn modelId="{210DCFE7-5DCB-43C2-8630-686388248E86}" srcId="{C8D1DF4E-F76E-4775-AC2E-EAEF193D879C}" destId="{4C08D3EE-AF48-4937-BC8F-8B7D73E7564F}" srcOrd="0" destOrd="0" parTransId="{BE7A13B5-95D3-49E2-AD0E-C6BD94589B64}" sibTransId="{0C0033F7-1408-480E-A962-DA6804AC3052}"/>
    <dgm:cxn modelId="{78204DFB-683C-4531-93B5-45CB0E83154D}" srcId="{A2A31375-8212-4FC8-A6CA-ADE91BDC72A3}" destId="{484953EE-E5A0-44A7-8692-8227D98F11A4}" srcOrd="0" destOrd="0" parTransId="{A88C6C2F-6D43-4FC5-9982-77091252F772}" sibTransId="{30EB5B96-DE6C-4B83-BF0B-269D100AD782}"/>
    <dgm:cxn modelId="{6F87076F-5E31-4942-8D10-342208912037}" type="presOf" srcId="{6D51D20D-B4AA-44F5-8822-13432EF19F07}" destId="{09F78D94-8018-4C8F-A097-38351F4D6FE0}" srcOrd="0" destOrd="0" presId="urn:microsoft.com/office/officeart/2005/8/layout/lProcess2"/>
    <dgm:cxn modelId="{66DD4BAF-FDB0-4846-8A34-48837C3FD1A6}" type="presOf" srcId="{2E8BE092-B1F9-42A3-ADFB-F77ED4CC551E}" destId="{381FC751-3918-433C-AF88-8FD7E3F99930}" srcOrd="0" destOrd="0" presId="urn:microsoft.com/office/officeart/2005/8/layout/lProcess2"/>
    <dgm:cxn modelId="{1E29CB5F-6E08-47E2-9777-F1C9E115AD9C}" type="presOf" srcId="{9FD7B6D0-C224-41F8-9146-53E9229D24E8}" destId="{96AE634F-D0EF-4A87-B26C-D55AE4DABB7D}" srcOrd="0" destOrd="0" presId="urn:microsoft.com/office/officeart/2005/8/layout/lProcess2"/>
    <dgm:cxn modelId="{01902279-4C7D-4C0F-BC41-4F707A456499}" type="presOf" srcId="{E41FB32D-DFC8-4A18-8A09-008D946B3DB7}" destId="{01D89F89-A9EA-437C-8CA9-FDCBE0105536}" srcOrd="0" destOrd="0" presId="urn:microsoft.com/office/officeart/2005/8/layout/lProcess2"/>
    <dgm:cxn modelId="{58D4A72F-A214-44F0-8BDB-B79782A201C8}" type="presOf" srcId="{4C08D3EE-AF48-4937-BC8F-8B7D73E7564F}" destId="{142ACBD7-E1A2-4A0F-AB9F-C5D4F72ED833}" srcOrd="0" destOrd="0" presId="urn:microsoft.com/office/officeart/2005/8/layout/lProcess2"/>
    <dgm:cxn modelId="{09818115-659C-4E8E-9DE1-3D5552AA7D12}" srcId="{F7A05865-4863-4C73-AEB7-1F3686C9813E}" destId="{F0108E75-13B6-4BB9-98DB-6382A7133F8A}" srcOrd="1" destOrd="0" parTransId="{BEE14D61-425C-4CD7-8F9F-668621C32397}" sibTransId="{6F07FF31-F8C0-4F9A-86CD-A31017B2B7BE}"/>
    <dgm:cxn modelId="{B4576730-E0F0-4111-BEF7-3E8A5A83C2C6}" srcId="{F7A05865-4863-4C73-AEB7-1F3686C9813E}" destId="{C8D1DF4E-F76E-4775-AC2E-EAEF193D879C}" srcOrd="0" destOrd="0" parTransId="{27784CF7-0B8E-4E9A-87B4-0D468D70B7C7}" sibTransId="{46EE1548-E2A5-43A8-91AB-28F620D324C4}"/>
    <dgm:cxn modelId="{D8E17C84-1AFD-4E57-BC06-966DD9EA9B5F}" srcId="{F0108E75-13B6-4BB9-98DB-6382A7133F8A}" destId="{E41FB32D-DFC8-4A18-8A09-008D946B3DB7}" srcOrd="1" destOrd="0" parTransId="{EAA95D6C-AB5F-41B9-B8B6-1B4A85FDE03E}" sibTransId="{65C7A182-C857-47D8-9CD0-96CA5646ADBF}"/>
    <dgm:cxn modelId="{43179528-0CF9-434D-B73A-7A3319B095BC}" type="presOf" srcId="{1EA22120-137D-4508-9421-76E451C32E56}" destId="{678406F9-0B84-4F67-A51F-439C0E97E476}" srcOrd="0" destOrd="0" presId="urn:microsoft.com/office/officeart/2005/8/layout/lProcess2"/>
    <dgm:cxn modelId="{2BC0894C-8E40-49D4-A143-04271D55DD57}" type="presOf" srcId="{C8D1DF4E-F76E-4775-AC2E-EAEF193D879C}" destId="{84783A7C-174C-4261-AE35-B8F22E3EA6E7}" srcOrd="0" destOrd="0" presId="urn:microsoft.com/office/officeart/2005/8/layout/lProcess2"/>
    <dgm:cxn modelId="{78600050-A6AB-4002-B03B-8A34355C7F01}" srcId="{F0108E75-13B6-4BB9-98DB-6382A7133F8A}" destId="{FD6B0408-461F-49B9-87F8-569779FE2DC9}" srcOrd="5" destOrd="0" parTransId="{503CF6FF-B035-4FF2-AD9F-38B4BB570206}" sibTransId="{6D751CA7-999D-4253-83F5-C1C38F75A96A}"/>
    <dgm:cxn modelId="{5F3A5C00-D384-4D2D-BC1E-05C751A87ADF}" srcId="{A2A31375-8212-4FC8-A6CA-ADE91BDC72A3}" destId="{342D9EBD-4B7F-44A4-9150-BE714A3EBB9B}" srcOrd="2" destOrd="0" parTransId="{109938C5-6177-48C8-89EE-055B4CB478FE}" sibTransId="{107E72EE-E380-4F08-8619-362D7031B74E}"/>
    <dgm:cxn modelId="{5A7B3680-C2B0-40A2-BBD6-02B755E38B0A}" type="presOf" srcId="{7DF58CA2-B76E-4D44-A56E-D7F77C52B8F7}" destId="{B86527D0-D365-4205-B1BB-E76B69F611FA}" srcOrd="0" destOrd="0" presId="urn:microsoft.com/office/officeart/2005/8/layout/lProcess2"/>
    <dgm:cxn modelId="{87E865BD-B004-4406-9D0E-1351AB105E73}" type="presOf" srcId="{A2A31375-8212-4FC8-A6CA-ADE91BDC72A3}" destId="{0794044B-84A9-434B-B9FD-6F948D3C55AC}" srcOrd="1" destOrd="0" presId="urn:microsoft.com/office/officeart/2005/8/layout/lProcess2"/>
    <dgm:cxn modelId="{0D409D4D-EE18-4676-8227-9BAB0F9084E4}" type="presOf" srcId="{484953EE-E5A0-44A7-8692-8227D98F11A4}" destId="{7744BB61-1AC4-44F0-AFFE-ED763612E2C0}" srcOrd="0" destOrd="0" presId="urn:microsoft.com/office/officeart/2005/8/layout/lProcess2"/>
    <dgm:cxn modelId="{CB777C08-520F-4F8A-874F-AC213E92D8F2}" srcId="{C8D1DF4E-F76E-4775-AC2E-EAEF193D879C}" destId="{2E8BE092-B1F9-42A3-ADFB-F77ED4CC551E}" srcOrd="3" destOrd="0" parTransId="{1178F785-3EF4-43AC-9853-6DB4F3903C2B}" sibTransId="{ADF141F0-3809-456E-AFFA-99AB7F27B272}"/>
    <dgm:cxn modelId="{7A45B585-0F73-4654-8326-2B877CCFAD11}" type="presOf" srcId="{C8D1DF4E-F76E-4775-AC2E-EAEF193D879C}" destId="{C42D8985-E4C5-4A8E-BDB8-9FE9459935F5}" srcOrd="1" destOrd="0" presId="urn:microsoft.com/office/officeart/2005/8/layout/lProcess2"/>
    <dgm:cxn modelId="{CA5C8CF0-FD34-4341-A2F2-03D63F2D49A1}" type="presOf" srcId="{FFAB2035-E760-4A01-BB85-1FA1D1DB9D20}" destId="{6A3AA0FC-1FF9-4606-BBC6-4E448ABEE738}" srcOrd="0" destOrd="0" presId="urn:microsoft.com/office/officeart/2005/8/layout/lProcess2"/>
    <dgm:cxn modelId="{652AAF99-A36B-4F61-BC1D-F8FFF1E59C53}" srcId="{C8D1DF4E-F76E-4775-AC2E-EAEF193D879C}" destId="{BDBA7DCC-355E-42BC-B284-3F5D9471A7FC}" srcOrd="1" destOrd="0" parTransId="{D0E8E3B7-9E67-48D5-B0EC-12AA0343685D}" sibTransId="{A28A997F-35C6-4261-AA6A-C8041A8141A4}"/>
    <dgm:cxn modelId="{AA628416-B5BF-46F7-9D27-2F733E6BD791}" srcId="{A2A31375-8212-4FC8-A6CA-ADE91BDC72A3}" destId="{7DF58CA2-B76E-4D44-A56E-D7F77C52B8F7}" srcOrd="1" destOrd="0" parTransId="{2EB43E07-B036-4005-9031-E3289908DF15}" sibTransId="{B170C848-088D-4E88-9BB2-76F4172E0DAF}"/>
    <dgm:cxn modelId="{195A45D3-A207-42DF-A7C3-579C550AF331}" type="presOf" srcId="{A2A31375-8212-4FC8-A6CA-ADE91BDC72A3}" destId="{2B77E2F5-1346-4034-87BA-2480C596A284}" srcOrd="0" destOrd="0" presId="urn:microsoft.com/office/officeart/2005/8/layout/lProcess2"/>
    <dgm:cxn modelId="{EE2F7A15-831E-43C5-B50B-7E4DD81B7754}" type="presOf" srcId="{F7A05865-4863-4C73-AEB7-1F3686C9813E}" destId="{017ED3EB-434C-4879-9E16-C1DB0BB383F3}" srcOrd="0" destOrd="0" presId="urn:microsoft.com/office/officeart/2005/8/layout/lProcess2"/>
    <dgm:cxn modelId="{1DAF5EE5-F081-404F-A169-323F916EF837}" type="presOf" srcId="{BE02A524-FA54-4C20-BF4D-CDDA8305B91E}" destId="{3421998F-D017-48B1-A46C-C918645CF4F6}" srcOrd="0" destOrd="0" presId="urn:microsoft.com/office/officeart/2005/8/layout/lProcess2"/>
    <dgm:cxn modelId="{0DEE7010-D93A-4DB6-AC67-256389135075}" type="presOf" srcId="{342D9EBD-4B7F-44A4-9150-BE714A3EBB9B}" destId="{261C7135-9109-4506-8608-DB28763C6FFF}" srcOrd="0" destOrd="0" presId="urn:microsoft.com/office/officeart/2005/8/layout/lProcess2"/>
    <dgm:cxn modelId="{E61049E7-FA11-4044-9912-5E4C290D2DF4}" srcId="{F0108E75-13B6-4BB9-98DB-6382A7133F8A}" destId="{6D51D20D-B4AA-44F5-8822-13432EF19F07}" srcOrd="0" destOrd="0" parTransId="{6D1AF599-65B3-4EFB-887D-3A02691FF537}" sibTransId="{87567CFA-1532-45FD-8F8C-829C0F91DB21}"/>
    <dgm:cxn modelId="{8602F9F5-E8CB-4019-8D5F-25BB9E93D55F}" srcId="{C8D1DF4E-F76E-4775-AC2E-EAEF193D879C}" destId="{FF08E916-6AAA-4FC8-9D98-59275C3CDE2D}" srcOrd="4" destOrd="0" parTransId="{9B9B4C58-3ED0-4EDF-B6C2-BEBEF09EC39E}" sibTransId="{3E8C6A1D-7C48-4066-B3EE-B6310E00E99F}"/>
    <dgm:cxn modelId="{1D8830E3-FD40-4ABD-8DE7-FF3BFB28C4B8}" type="presOf" srcId="{FF08E916-6AAA-4FC8-9D98-59275C3CDE2D}" destId="{7226CAA6-7B46-4760-BA96-6800727D20BB}" srcOrd="0" destOrd="0" presId="urn:microsoft.com/office/officeart/2005/8/layout/lProcess2"/>
    <dgm:cxn modelId="{A0D9FA2B-C5F8-4374-A0E5-D3FE292675DC}" type="presOf" srcId="{F0108E75-13B6-4BB9-98DB-6382A7133F8A}" destId="{C0A1013E-5C54-4332-AC7F-7A566ADDBA13}" srcOrd="1" destOrd="0" presId="urn:microsoft.com/office/officeart/2005/8/layout/lProcess2"/>
    <dgm:cxn modelId="{0984AEB3-CCE5-4999-BBA1-B5D15AA9DCF3}" srcId="{C8D1DF4E-F76E-4775-AC2E-EAEF193D879C}" destId="{9FD7B6D0-C224-41F8-9146-53E9229D24E8}" srcOrd="5" destOrd="0" parTransId="{BF359DC8-4B4B-41BD-851D-5CFEEDDC9F32}" sibTransId="{CA0496DD-6775-4178-A5CD-F47FA9DC521A}"/>
    <dgm:cxn modelId="{078B2CBB-0343-4224-A1E6-6B55DC77D44C}" srcId="{C8D1DF4E-F76E-4775-AC2E-EAEF193D879C}" destId="{1EA22120-137D-4508-9421-76E451C32E56}" srcOrd="2" destOrd="0" parTransId="{D27A61D1-A56F-4D58-A662-DA7A3EBB6F87}" sibTransId="{52CEA4AF-9DB1-4E9B-A353-792E3B412FD5}"/>
    <dgm:cxn modelId="{0993721F-C191-409A-9AB2-F79C571443E5}" type="presOf" srcId="{BDBA7DCC-355E-42BC-B284-3F5D9471A7FC}" destId="{B215B456-D685-4ACC-808E-CC2B8DB5E036}" srcOrd="0" destOrd="0" presId="urn:microsoft.com/office/officeart/2005/8/layout/lProcess2"/>
    <dgm:cxn modelId="{A4E6E17A-773C-44C8-91FC-6DF174816FFC}" srcId="{F7A05865-4863-4C73-AEB7-1F3686C9813E}" destId="{A2A31375-8212-4FC8-A6CA-ADE91BDC72A3}" srcOrd="2" destOrd="0" parTransId="{48D17C35-CF22-44BD-9337-0AA72AEE5911}" sibTransId="{ECA74A52-D464-429F-8EC4-6E3B99D438B0}"/>
    <dgm:cxn modelId="{A1BEEF70-A15D-4B73-BA1D-233999F7042D}" type="presParOf" srcId="{017ED3EB-434C-4879-9E16-C1DB0BB383F3}" destId="{F9940B1C-7214-448A-ADB3-A6366EFE01F0}" srcOrd="0" destOrd="0" presId="urn:microsoft.com/office/officeart/2005/8/layout/lProcess2"/>
    <dgm:cxn modelId="{9396D20D-4008-4B3E-A1CF-DBF7D8436C47}" type="presParOf" srcId="{F9940B1C-7214-448A-ADB3-A6366EFE01F0}" destId="{84783A7C-174C-4261-AE35-B8F22E3EA6E7}" srcOrd="0" destOrd="0" presId="urn:microsoft.com/office/officeart/2005/8/layout/lProcess2"/>
    <dgm:cxn modelId="{112F77A8-AA6F-4E09-BCFB-4A9DE2B1E9F3}" type="presParOf" srcId="{F9940B1C-7214-448A-ADB3-A6366EFE01F0}" destId="{C42D8985-E4C5-4A8E-BDB8-9FE9459935F5}" srcOrd="1" destOrd="0" presId="urn:microsoft.com/office/officeart/2005/8/layout/lProcess2"/>
    <dgm:cxn modelId="{12967273-A43F-4F84-AAA2-F755A5D7D62D}" type="presParOf" srcId="{F9940B1C-7214-448A-ADB3-A6366EFE01F0}" destId="{AECC9E06-2444-4043-8888-E611D91F98C0}" srcOrd="2" destOrd="0" presId="urn:microsoft.com/office/officeart/2005/8/layout/lProcess2"/>
    <dgm:cxn modelId="{3475F71B-47F3-4518-B554-11AE57A18CC8}" type="presParOf" srcId="{AECC9E06-2444-4043-8888-E611D91F98C0}" destId="{06AD285C-38C6-4CBD-9D79-BF2E1420E11D}" srcOrd="0" destOrd="0" presId="urn:microsoft.com/office/officeart/2005/8/layout/lProcess2"/>
    <dgm:cxn modelId="{ED415C27-3523-4F97-B150-34AC5C391EBA}" type="presParOf" srcId="{06AD285C-38C6-4CBD-9D79-BF2E1420E11D}" destId="{142ACBD7-E1A2-4A0F-AB9F-C5D4F72ED833}" srcOrd="0" destOrd="0" presId="urn:microsoft.com/office/officeart/2005/8/layout/lProcess2"/>
    <dgm:cxn modelId="{14B98140-AD3D-4592-8C8A-D18F8D99E457}" type="presParOf" srcId="{06AD285C-38C6-4CBD-9D79-BF2E1420E11D}" destId="{B179C6B7-0A64-4330-81A9-157198A14982}" srcOrd="1" destOrd="0" presId="urn:microsoft.com/office/officeart/2005/8/layout/lProcess2"/>
    <dgm:cxn modelId="{9C143167-EF7B-4195-9655-C5FA7092B9D3}" type="presParOf" srcId="{06AD285C-38C6-4CBD-9D79-BF2E1420E11D}" destId="{B215B456-D685-4ACC-808E-CC2B8DB5E036}" srcOrd="2" destOrd="0" presId="urn:microsoft.com/office/officeart/2005/8/layout/lProcess2"/>
    <dgm:cxn modelId="{90FD17EE-9A24-45BF-AD5A-4A1CC1CDF0AF}" type="presParOf" srcId="{06AD285C-38C6-4CBD-9D79-BF2E1420E11D}" destId="{81D56F3A-95A9-4371-8C21-60728FFC1562}" srcOrd="3" destOrd="0" presId="urn:microsoft.com/office/officeart/2005/8/layout/lProcess2"/>
    <dgm:cxn modelId="{DB953493-E5A3-4A3D-903F-3E048A3BB0A5}" type="presParOf" srcId="{06AD285C-38C6-4CBD-9D79-BF2E1420E11D}" destId="{678406F9-0B84-4F67-A51F-439C0E97E476}" srcOrd="4" destOrd="0" presId="urn:microsoft.com/office/officeart/2005/8/layout/lProcess2"/>
    <dgm:cxn modelId="{5B92F26D-6146-42DD-BC8A-F9D3B059A696}" type="presParOf" srcId="{06AD285C-38C6-4CBD-9D79-BF2E1420E11D}" destId="{ABB58694-071C-463B-AB80-8EEF5B6633EF}" srcOrd="5" destOrd="0" presId="urn:microsoft.com/office/officeart/2005/8/layout/lProcess2"/>
    <dgm:cxn modelId="{9B72975C-E587-45B1-99BA-3CEF7FBE44E6}" type="presParOf" srcId="{06AD285C-38C6-4CBD-9D79-BF2E1420E11D}" destId="{381FC751-3918-433C-AF88-8FD7E3F99930}" srcOrd="6" destOrd="0" presId="urn:microsoft.com/office/officeart/2005/8/layout/lProcess2"/>
    <dgm:cxn modelId="{75ED2BC2-D637-4406-9217-1C4371F09D8A}" type="presParOf" srcId="{06AD285C-38C6-4CBD-9D79-BF2E1420E11D}" destId="{6CA5175C-BC88-4A26-96A7-7647E61EEEED}" srcOrd="7" destOrd="0" presId="urn:microsoft.com/office/officeart/2005/8/layout/lProcess2"/>
    <dgm:cxn modelId="{BEB5C719-AB33-48B0-8A54-F2B13A4EFAA4}" type="presParOf" srcId="{06AD285C-38C6-4CBD-9D79-BF2E1420E11D}" destId="{7226CAA6-7B46-4760-BA96-6800727D20BB}" srcOrd="8" destOrd="0" presId="urn:microsoft.com/office/officeart/2005/8/layout/lProcess2"/>
    <dgm:cxn modelId="{D63752BE-843B-4BFB-ADF7-02CC59EFB507}" type="presParOf" srcId="{06AD285C-38C6-4CBD-9D79-BF2E1420E11D}" destId="{51347E5A-8196-42F3-A876-A5980FE5E2C2}" srcOrd="9" destOrd="0" presId="urn:microsoft.com/office/officeart/2005/8/layout/lProcess2"/>
    <dgm:cxn modelId="{C665C4B8-E829-422D-9356-784D04F55B1A}" type="presParOf" srcId="{06AD285C-38C6-4CBD-9D79-BF2E1420E11D}" destId="{96AE634F-D0EF-4A87-B26C-D55AE4DABB7D}" srcOrd="10" destOrd="0" presId="urn:microsoft.com/office/officeart/2005/8/layout/lProcess2"/>
    <dgm:cxn modelId="{12459F3A-B266-40B9-B72A-4D9EE2666C21}" type="presParOf" srcId="{017ED3EB-434C-4879-9E16-C1DB0BB383F3}" destId="{85117D5B-7CD6-4B7E-83CE-D3CAAD23C803}" srcOrd="1" destOrd="0" presId="urn:microsoft.com/office/officeart/2005/8/layout/lProcess2"/>
    <dgm:cxn modelId="{63D5160E-F6E9-4391-99B9-0786FB3BE966}" type="presParOf" srcId="{017ED3EB-434C-4879-9E16-C1DB0BB383F3}" destId="{A8FF5C23-94C5-4D84-A2E1-598B2226AD02}" srcOrd="2" destOrd="0" presId="urn:microsoft.com/office/officeart/2005/8/layout/lProcess2"/>
    <dgm:cxn modelId="{ACEA05C7-4196-4547-B445-8EDB15D81F27}" type="presParOf" srcId="{A8FF5C23-94C5-4D84-A2E1-598B2226AD02}" destId="{C2EA1DFA-A78A-4C5E-888D-B45ECBB7CFAC}" srcOrd="0" destOrd="0" presId="urn:microsoft.com/office/officeart/2005/8/layout/lProcess2"/>
    <dgm:cxn modelId="{957D5611-4BBC-4E4D-B0C0-4AEAC35BE20F}" type="presParOf" srcId="{A8FF5C23-94C5-4D84-A2E1-598B2226AD02}" destId="{C0A1013E-5C54-4332-AC7F-7A566ADDBA13}" srcOrd="1" destOrd="0" presId="urn:microsoft.com/office/officeart/2005/8/layout/lProcess2"/>
    <dgm:cxn modelId="{B945A6E1-17B9-45E2-BD15-E8D4F0C05A9B}" type="presParOf" srcId="{A8FF5C23-94C5-4D84-A2E1-598B2226AD02}" destId="{1B90FDEF-0DFD-4317-B912-772FCCFF619C}" srcOrd="2" destOrd="0" presId="urn:microsoft.com/office/officeart/2005/8/layout/lProcess2"/>
    <dgm:cxn modelId="{04E37721-36ED-464E-A548-2DF8402BDEBC}" type="presParOf" srcId="{1B90FDEF-0DFD-4317-B912-772FCCFF619C}" destId="{3D9AA508-F5D2-4126-B3B3-09389B11F500}" srcOrd="0" destOrd="0" presId="urn:microsoft.com/office/officeart/2005/8/layout/lProcess2"/>
    <dgm:cxn modelId="{6CDD4208-60F1-4DAA-8AD4-18CA00345813}" type="presParOf" srcId="{3D9AA508-F5D2-4126-B3B3-09389B11F500}" destId="{09F78D94-8018-4C8F-A097-38351F4D6FE0}" srcOrd="0" destOrd="0" presId="urn:microsoft.com/office/officeart/2005/8/layout/lProcess2"/>
    <dgm:cxn modelId="{BC9769F2-F997-4102-B43C-14D6E7E5DA67}" type="presParOf" srcId="{3D9AA508-F5D2-4126-B3B3-09389B11F500}" destId="{F54DA71C-91A0-4F54-A08F-934591128E76}" srcOrd="1" destOrd="0" presId="urn:microsoft.com/office/officeart/2005/8/layout/lProcess2"/>
    <dgm:cxn modelId="{98025EF6-6FDF-44DB-9C42-03ED589A0891}" type="presParOf" srcId="{3D9AA508-F5D2-4126-B3B3-09389B11F500}" destId="{01D89F89-A9EA-437C-8CA9-FDCBE0105536}" srcOrd="2" destOrd="0" presId="urn:microsoft.com/office/officeart/2005/8/layout/lProcess2"/>
    <dgm:cxn modelId="{50AD4EB8-ED23-4CC0-82C3-FC35DAA5ACBC}" type="presParOf" srcId="{3D9AA508-F5D2-4126-B3B3-09389B11F500}" destId="{F7D52189-C9F3-4CCA-98E3-5988EC29B8CA}" srcOrd="3" destOrd="0" presId="urn:microsoft.com/office/officeart/2005/8/layout/lProcess2"/>
    <dgm:cxn modelId="{528CDDAA-82B7-4B47-88DB-B8D6431C696C}" type="presParOf" srcId="{3D9AA508-F5D2-4126-B3B3-09389B11F500}" destId="{3421998F-D017-48B1-A46C-C918645CF4F6}" srcOrd="4" destOrd="0" presId="urn:microsoft.com/office/officeart/2005/8/layout/lProcess2"/>
    <dgm:cxn modelId="{E2B8F41F-521D-4672-874C-FFB18BAFE396}" type="presParOf" srcId="{3D9AA508-F5D2-4126-B3B3-09389B11F500}" destId="{C4209A70-989D-4E79-8C3D-A52590BAD9EA}" srcOrd="5" destOrd="0" presId="urn:microsoft.com/office/officeart/2005/8/layout/lProcess2"/>
    <dgm:cxn modelId="{A67A4545-5326-4C6B-92F0-09888CCDB5A2}" type="presParOf" srcId="{3D9AA508-F5D2-4126-B3B3-09389B11F500}" destId="{4EACF501-C421-43C7-9F55-E744C605193E}" srcOrd="6" destOrd="0" presId="urn:microsoft.com/office/officeart/2005/8/layout/lProcess2"/>
    <dgm:cxn modelId="{A680FFFF-E022-4804-87CF-8AFC40B07B83}" type="presParOf" srcId="{3D9AA508-F5D2-4126-B3B3-09389B11F500}" destId="{34391942-FA04-4F18-AE50-A6901D06435C}" srcOrd="7" destOrd="0" presId="urn:microsoft.com/office/officeart/2005/8/layout/lProcess2"/>
    <dgm:cxn modelId="{D8DD5022-C0F2-4054-B4DF-8C286FF963D5}" type="presParOf" srcId="{3D9AA508-F5D2-4126-B3B3-09389B11F500}" destId="{E4D1FC4D-9158-4DC5-8CD1-A7624CA88DA3}" srcOrd="8" destOrd="0" presId="urn:microsoft.com/office/officeart/2005/8/layout/lProcess2"/>
    <dgm:cxn modelId="{39D69C44-C0FD-4255-A66C-7871AA1F3E5F}" type="presParOf" srcId="{3D9AA508-F5D2-4126-B3B3-09389B11F500}" destId="{72D9616B-87E1-425A-8055-C858699F95A0}" srcOrd="9" destOrd="0" presId="urn:microsoft.com/office/officeart/2005/8/layout/lProcess2"/>
    <dgm:cxn modelId="{64BF133E-6132-45C6-86A1-1EE1E750C19D}" type="presParOf" srcId="{3D9AA508-F5D2-4126-B3B3-09389B11F500}" destId="{FAAC9442-A6D1-4316-982F-23426466EC5A}" srcOrd="10" destOrd="0" presId="urn:microsoft.com/office/officeart/2005/8/layout/lProcess2"/>
    <dgm:cxn modelId="{10B3BA56-73B8-4F76-A434-D119D156AAAA}" type="presParOf" srcId="{017ED3EB-434C-4879-9E16-C1DB0BB383F3}" destId="{8C29A7BF-2CCE-419E-AD4B-14086258066B}" srcOrd="3" destOrd="0" presId="urn:microsoft.com/office/officeart/2005/8/layout/lProcess2"/>
    <dgm:cxn modelId="{483130E9-5FFA-4845-9EFC-03A5D834CA9D}" type="presParOf" srcId="{017ED3EB-434C-4879-9E16-C1DB0BB383F3}" destId="{F98B1017-9F6D-40A7-8FCA-0610B7F56C31}" srcOrd="4" destOrd="0" presId="urn:microsoft.com/office/officeart/2005/8/layout/lProcess2"/>
    <dgm:cxn modelId="{8F3A782D-7139-42DD-B4E4-8ED103DA7F2C}" type="presParOf" srcId="{F98B1017-9F6D-40A7-8FCA-0610B7F56C31}" destId="{2B77E2F5-1346-4034-87BA-2480C596A284}" srcOrd="0" destOrd="0" presId="urn:microsoft.com/office/officeart/2005/8/layout/lProcess2"/>
    <dgm:cxn modelId="{8C6B2B3B-BB47-4BE1-9200-FE304241E6F1}" type="presParOf" srcId="{F98B1017-9F6D-40A7-8FCA-0610B7F56C31}" destId="{0794044B-84A9-434B-B9FD-6F948D3C55AC}" srcOrd="1" destOrd="0" presId="urn:microsoft.com/office/officeart/2005/8/layout/lProcess2"/>
    <dgm:cxn modelId="{9A199785-4792-4A67-BEC6-0E23AF0B19B9}" type="presParOf" srcId="{F98B1017-9F6D-40A7-8FCA-0610B7F56C31}" destId="{7C268240-623B-4AD2-AE7F-21B3AF33FD56}" srcOrd="2" destOrd="0" presId="urn:microsoft.com/office/officeart/2005/8/layout/lProcess2"/>
    <dgm:cxn modelId="{3462A2BF-AD58-46A8-9C1E-C8E51F581928}" type="presParOf" srcId="{7C268240-623B-4AD2-AE7F-21B3AF33FD56}" destId="{76F237F9-02D2-4C66-978F-C26114E9EA05}" srcOrd="0" destOrd="0" presId="urn:microsoft.com/office/officeart/2005/8/layout/lProcess2"/>
    <dgm:cxn modelId="{E04DB6FE-7B48-460D-9ED1-67BEBBD68A1F}" type="presParOf" srcId="{76F237F9-02D2-4C66-978F-C26114E9EA05}" destId="{7744BB61-1AC4-44F0-AFFE-ED763612E2C0}" srcOrd="0" destOrd="0" presId="urn:microsoft.com/office/officeart/2005/8/layout/lProcess2"/>
    <dgm:cxn modelId="{470CE15C-FCC7-4AF8-A0DA-5A3F8D0D1A32}" type="presParOf" srcId="{76F237F9-02D2-4C66-978F-C26114E9EA05}" destId="{CC88062C-0E5C-4D04-BD39-3E8AD91E48EF}" srcOrd="1" destOrd="0" presId="urn:microsoft.com/office/officeart/2005/8/layout/lProcess2"/>
    <dgm:cxn modelId="{F69BF414-0379-4A4E-88A0-F0D1ED8147CB}" type="presParOf" srcId="{76F237F9-02D2-4C66-978F-C26114E9EA05}" destId="{B86527D0-D365-4205-B1BB-E76B69F611FA}" srcOrd="2" destOrd="0" presId="urn:microsoft.com/office/officeart/2005/8/layout/lProcess2"/>
    <dgm:cxn modelId="{0A1A3B7A-3D7C-4501-886E-D15FE262DAE8}" type="presParOf" srcId="{76F237F9-02D2-4C66-978F-C26114E9EA05}" destId="{5A67BAFE-24F4-4B9C-8F8D-6D01489DB90D}" srcOrd="3" destOrd="0" presId="urn:microsoft.com/office/officeart/2005/8/layout/lProcess2"/>
    <dgm:cxn modelId="{6761199B-1EB5-4B2C-847C-0DF4977FEE87}" type="presParOf" srcId="{76F237F9-02D2-4C66-978F-C26114E9EA05}" destId="{261C7135-9109-4506-8608-DB28763C6FFF}" srcOrd="4" destOrd="0" presId="urn:microsoft.com/office/officeart/2005/8/layout/lProcess2"/>
    <dgm:cxn modelId="{93BB2317-4164-45F9-B3E6-38EF70BB3268}" type="presParOf" srcId="{76F237F9-02D2-4C66-978F-C26114E9EA05}" destId="{F421F27E-96A4-4D79-8328-553305583311}" srcOrd="5" destOrd="0" presId="urn:microsoft.com/office/officeart/2005/8/layout/lProcess2"/>
    <dgm:cxn modelId="{DCC77377-CCE6-44A3-AA5B-3E1FA46EFCB4}" type="presParOf" srcId="{76F237F9-02D2-4C66-978F-C26114E9EA05}" destId="{6A3AA0FC-1FF9-4606-BBC6-4E448ABEE738}" srcOrd="6" destOrd="0" presId="urn:microsoft.com/office/officeart/2005/8/layout/lProcess2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4783A7C-174C-4261-AE35-B8F22E3EA6E7}">
      <dsp:nvSpPr>
        <dsp:cNvPr id="0" name=""/>
        <dsp:cNvSpPr/>
      </dsp:nvSpPr>
      <dsp:spPr>
        <a:xfrm>
          <a:off x="744" y="0"/>
          <a:ext cx="1934765" cy="4064000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System Quality</a:t>
          </a:r>
          <a:endParaRPr lang="en-US" sz="2700" kern="1200" dirty="0"/>
        </a:p>
      </dsp:txBody>
      <dsp:txXfrm>
        <a:off x="744" y="0"/>
        <a:ext cx="1934765" cy="1219200"/>
      </dsp:txXfrm>
    </dsp:sp>
    <dsp:sp modelId="{142ACBD7-E1A2-4A0F-AB9F-C5D4F72ED833}">
      <dsp:nvSpPr>
        <dsp:cNvPr id="0" name=""/>
        <dsp:cNvSpPr/>
      </dsp:nvSpPr>
      <dsp:spPr>
        <a:xfrm>
          <a:off x="194220" y="1219398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>
              <a:solidFill>
                <a:schemeClr val="tx1"/>
              </a:solidFill>
            </a:rPr>
            <a:t>Availability</a:t>
          </a:r>
          <a:endParaRPr lang="en-US" sz="1500" b="1" kern="1200" dirty="0">
            <a:solidFill>
              <a:schemeClr val="tx1"/>
            </a:solidFill>
          </a:endParaRPr>
        </a:p>
      </dsp:txBody>
      <dsp:txXfrm>
        <a:off x="194220" y="1219398"/>
        <a:ext cx="1547812" cy="390177"/>
      </dsp:txXfrm>
    </dsp:sp>
    <dsp:sp modelId="{B215B456-D685-4ACC-808E-CC2B8DB5E036}">
      <dsp:nvSpPr>
        <dsp:cNvPr id="0" name=""/>
        <dsp:cNvSpPr/>
      </dsp:nvSpPr>
      <dsp:spPr>
        <a:xfrm>
          <a:off x="194220" y="1669603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750018"/>
            <a:satOff val="-1125"/>
            <a:lumOff val="-18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>
              <a:solidFill>
                <a:schemeClr val="tx1"/>
              </a:solidFill>
            </a:rPr>
            <a:t>Modifiability</a:t>
          </a:r>
          <a:endParaRPr lang="en-US" sz="1500" b="1" kern="1200" dirty="0">
            <a:solidFill>
              <a:schemeClr val="tx1"/>
            </a:solidFill>
          </a:endParaRPr>
        </a:p>
      </dsp:txBody>
      <dsp:txXfrm>
        <a:off x="194220" y="1669603"/>
        <a:ext cx="1547812" cy="390177"/>
      </dsp:txXfrm>
    </dsp:sp>
    <dsp:sp modelId="{678406F9-0B84-4F67-A51F-439C0E97E476}">
      <dsp:nvSpPr>
        <dsp:cNvPr id="0" name=""/>
        <dsp:cNvSpPr/>
      </dsp:nvSpPr>
      <dsp:spPr>
        <a:xfrm>
          <a:off x="194220" y="2119808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1500035"/>
            <a:satOff val="-2251"/>
            <a:lumOff val="-36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>
              <a:solidFill>
                <a:schemeClr val="tx1"/>
              </a:solidFill>
            </a:rPr>
            <a:t>Performance</a:t>
          </a:r>
          <a:endParaRPr lang="en-US" sz="1500" b="1" kern="1200" dirty="0">
            <a:solidFill>
              <a:schemeClr val="tx1"/>
            </a:solidFill>
          </a:endParaRPr>
        </a:p>
      </dsp:txBody>
      <dsp:txXfrm>
        <a:off x="194220" y="2119808"/>
        <a:ext cx="1547812" cy="390177"/>
      </dsp:txXfrm>
    </dsp:sp>
    <dsp:sp modelId="{381FC751-3918-433C-AF88-8FD7E3F99930}">
      <dsp:nvSpPr>
        <dsp:cNvPr id="0" name=""/>
        <dsp:cNvSpPr/>
      </dsp:nvSpPr>
      <dsp:spPr>
        <a:xfrm>
          <a:off x="194220" y="2570013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2250053"/>
            <a:satOff val="-3376"/>
            <a:lumOff val="-54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>
              <a:solidFill>
                <a:schemeClr val="tx1"/>
              </a:solidFill>
            </a:rPr>
            <a:t>Security</a:t>
          </a:r>
          <a:endParaRPr lang="en-US" sz="1500" b="1" kern="1200" dirty="0">
            <a:solidFill>
              <a:schemeClr val="tx1"/>
            </a:solidFill>
          </a:endParaRPr>
        </a:p>
      </dsp:txBody>
      <dsp:txXfrm>
        <a:off x="194220" y="2570013"/>
        <a:ext cx="1547812" cy="390177"/>
      </dsp:txXfrm>
    </dsp:sp>
    <dsp:sp modelId="{7226CAA6-7B46-4760-BA96-6800727D20BB}">
      <dsp:nvSpPr>
        <dsp:cNvPr id="0" name=""/>
        <dsp:cNvSpPr/>
      </dsp:nvSpPr>
      <dsp:spPr>
        <a:xfrm>
          <a:off x="194220" y="3020218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3000071"/>
            <a:satOff val="-4501"/>
            <a:lumOff val="-73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>
              <a:solidFill>
                <a:schemeClr val="tx1"/>
              </a:solidFill>
            </a:rPr>
            <a:t>Testability</a:t>
          </a:r>
          <a:endParaRPr lang="en-US" sz="1500" b="1" kern="1200" dirty="0">
            <a:solidFill>
              <a:schemeClr val="tx1"/>
            </a:solidFill>
          </a:endParaRPr>
        </a:p>
      </dsp:txBody>
      <dsp:txXfrm>
        <a:off x="194220" y="3020218"/>
        <a:ext cx="1547812" cy="390177"/>
      </dsp:txXfrm>
    </dsp:sp>
    <dsp:sp modelId="{96AE634F-D0EF-4A87-B26C-D55AE4DABB7D}">
      <dsp:nvSpPr>
        <dsp:cNvPr id="0" name=""/>
        <dsp:cNvSpPr/>
      </dsp:nvSpPr>
      <dsp:spPr>
        <a:xfrm>
          <a:off x="194220" y="3470423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3750089"/>
            <a:satOff val="-5627"/>
            <a:lumOff val="-9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>
              <a:solidFill>
                <a:schemeClr val="tx1"/>
              </a:solidFill>
            </a:rPr>
            <a:t>Usability</a:t>
          </a:r>
          <a:endParaRPr lang="en-US" sz="1500" b="1" kern="1200" dirty="0">
            <a:solidFill>
              <a:schemeClr val="tx1"/>
            </a:solidFill>
          </a:endParaRPr>
        </a:p>
      </dsp:txBody>
      <dsp:txXfrm>
        <a:off x="194220" y="3470423"/>
        <a:ext cx="1547812" cy="390177"/>
      </dsp:txXfrm>
    </dsp:sp>
    <dsp:sp modelId="{C2EA1DFA-A78A-4C5E-888D-B45ECBB7CFAC}">
      <dsp:nvSpPr>
        <dsp:cNvPr id="0" name=""/>
        <dsp:cNvSpPr/>
      </dsp:nvSpPr>
      <dsp:spPr>
        <a:xfrm>
          <a:off x="2080617" y="0"/>
          <a:ext cx="1934765" cy="4064000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Business Quality</a:t>
          </a:r>
          <a:endParaRPr lang="en-US" sz="2700" kern="1200" dirty="0"/>
        </a:p>
      </dsp:txBody>
      <dsp:txXfrm>
        <a:off x="2080617" y="0"/>
        <a:ext cx="1934765" cy="1219200"/>
      </dsp:txXfrm>
    </dsp:sp>
    <dsp:sp modelId="{09F78D94-8018-4C8F-A097-38351F4D6FE0}">
      <dsp:nvSpPr>
        <dsp:cNvPr id="0" name=""/>
        <dsp:cNvSpPr/>
      </dsp:nvSpPr>
      <dsp:spPr>
        <a:xfrm>
          <a:off x="2274093" y="1219398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4500106"/>
            <a:satOff val="-6752"/>
            <a:lumOff val="-109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0" kern="1200" dirty="0" smtClean="0"/>
            <a:t>Time to market</a:t>
          </a:r>
          <a:endParaRPr lang="en-US" sz="1500" b="0" kern="1200" dirty="0"/>
        </a:p>
      </dsp:txBody>
      <dsp:txXfrm>
        <a:off x="2274093" y="1219398"/>
        <a:ext cx="1547812" cy="390177"/>
      </dsp:txXfrm>
    </dsp:sp>
    <dsp:sp modelId="{01D89F89-A9EA-437C-8CA9-FDCBE0105536}">
      <dsp:nvSpPr>
        <dsp:cNvPr id="0" name=""/>
        <dsp:cNvSpPr/>
      </dsp:nvSpPr>
      <dsp:spPr>
        <a:xfrm>
          <a:off x="2274093" y="1669603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5250124"/>
            <a:satOff val="-7877"/>
            <a:lumOff val="-128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Cost and benefit</a:t>
          </a:r>
          <a:endParaRPr lang="en-US" sz="1500" kern="1200" dirty="0"/>
        </a:p>
      </dsp:txBody>
      <dsp:txXfrm>
        <a:off x="2274093" y="1669603"/>
        <a:ext cx="1547812" cy="390177"/>
      </dsp:txXfrm>
    </dsp:sp>
    <dsp:sp modelId="{3421998F-D017-48B1-A46C-C918645CF4F6}">
      <dsp:nvSpPr>
        <dsp:cNvPr id="0" name=""/>
        <dsp:cNvSpPr/>
      </dsp:nvSpPr>
      <dsp:spPr>
        <a:xfrm>
          <a:off x="2274093" y="2119808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6000142"/>
            <a:satOff val="-9003"/>
            <a:lumOff val="-146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Project lifetime</a:t>
          </a:r>
          <a:endParaRPr lang="en-US" sz="1500" kern="1200" dirty="0"/>
        </a:p>
      </dsp:txBody>
      <dsp:txXfrm>
        <a:off x="2274093" y="2119808"/>
        <a:ext cx="1547812" cy="390177"/>
      </dsp:txXfrm>
    </dsp:sp>
    <dsp:sp modelId="{4EACF501-C421-43C7-9F55-E744C605193E}">
      <dsp:nvSpPr>
        <dsp:cNvPr id="0" name=""/>
        <dsp:cNvSpPr/>
      </dsp:nvSpPr>
      <dsp:spPr>
        <a:xfrm>
          <a:off x="2274093" y="2570013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6750160"/>
            <a:satOff val="-10128"/>
            <a:lumOff val="-164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Targeted market</a:t>
          </a:r>
          <a:endParaRPr lang="en-US" sz="1500" kern="1200" dirty="0"/>
        </a:p>
      </dsp:txBody>
      <dsp:txXfrm>
        <a:off x="2274093" y="2570013"/>
        <a:ext cx="1547812" cy="390177"/>
      </dsp:txXfrm>
    </dsp:sp>
    <dsp:sp modelId="{E4D1FC4D-9158-4DC5-8CD1-A7624CA88DA3}">
      <dsp:nvSpPr>
        <dsp:cNvPr id="0" name=""/>
        <dsp:cNvSpPr/>
      </dsp:nvSpPr>
      <dsp:spPr>
        <a:xfrm>
          <a:off x="2274093" y="3020218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7500177"/>
            <a:satOff val="-11253"/>
            <a:lumOff val="-18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Rollout schedule</a:t>
          </a:r>
          <a:endParaRPr lang="en-US" sz="1500" kern="1200" dirty="0"/>
        </a:p>
      </dsp:txBody>
      <dsp:txXfrm>
        <a:off x="2274093" y="3020218"/>
        <a:ext cx="1547812" cy="390177"/>
      </dsp:txXfrm>
    </dsp:sp>
    <dsp:sp modelId="{FAAC9442-A6D1-4316-982F-23426466EC5A}">
      <dsp:nvSpPr>
        <dsp:cNvPr id="0" name=""/>
        <dsp:cNvSpPr/>
      </dsp:nvSpPr>
      <dsp:spPr>
        <a:xfrm>
          <a:off x="2274093" y="3470423"/>
          <a:ext cx="1547812" cy="390177"/>
        </a:xfrm>
        <a:prstGeom prst="roundRect">
          <a:avLst>
            <a:gd name="adj" fmla="val 10000"/>
          </a:avLst>
        </a:prstGeom>
        <a:solidFill>
          <a:schemeClr val="accent3">
            <a:hueOff val="8250195"/>
            <a:satOff val="-12379"/>
            <a:lumOff val="-201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Legacy integration</a:t>
          </a:r>
          <a:endParaRPr lang="en-US" sz="1500" kern="1200" dirty="0"/>
        </a:p>
      </dsp:txBody>
      <dsp:txXfrm>
        <a:off x="2274093" y="3470423"/>
        <a:ext cx="1547812" cy="390177"/>
      </dsp:txXfrm>
    </dsp:sp>
    <dsp:sp modelId="{2B77E2F5-1346-4034-87BA-2480C596A284}">
      <dsp:nvSpPr>
        <dsp:cNvPr id="0" name=""/>
        <dsp:cNvSpPr/>
      </dsp:nvSpPr>
      <dsp:spPr>
        <a:xfrm>
          <a:off x="4160490" y="0"/>
          <a:ext cx="1934765" cy="4064000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Quality of Architecture</a:t>
          </a:r>
          <a:endParaRPr lang="en-US" sz="2700" kern="1200" dirty="0"/>
        </a:p>
      </dsp:txBody>
      <dsp:txXfrm>
        <a:off x="4160490" y="0"/>
        <a:ext cx="1934765" cy="1219200"/>
      </dsp:txXfrm>
    </dsp:sp>
    <dsp:sp modelId="{7744BB61-1AC4-44F0-AFFE-ED763612E2C0}">
      <dsp:nvSpPr>
        <dsp:cNvPr id="0" name=""/>
        <dsp:cNvSpPr/>
      </dsp:nvSpPr>
      <dsp:spPr>
        <a:xfrm>
          <a:off x="4353966" y="1219299"/>
          <a:ext cx="1547812" cy="592038"/>
        </a:xfrm>
        <a:prstGeom prst="roundRect">
          <a:avLst>
            <a:gd name="adj" fmla="val 10000"/>
          </a:avLst>
        </a:prstGeom>
        <a:solidFill>
          <a:schemeClr val="accent3">
            <a:hueOff val="9000212"/>
            <a:satOff val="-13504"/>
            <a:lumOff val="-219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0" kern="1200" dirty="0" smtClean="0"/>
            <a:t>Conceptual Integrity</a:t>
          </a:r>
          <a:endParaRPr lang="en-US" sz="1500" b="0" kern="1200" dirty="0"/>
        </a:p>
      </dsp:txBody>
      <dsp:txXfrm>
        <a:off x="4353966" y="1219299"/>
        <a:ext cx="1547812" cy="592038"/>
      </dsp:txXfrm>
    </dsp:sp>
    <dsp:sp modelId="{B86527D0-D365-4205-B1BB-E76B69F611FA}">
      <dsp:nvSpPr>
        <dsp:cNvPr id="0" name=""/>
        <dsp:cNvSpPr/>
      </dsp:nvSpPr>
      <dsp:spPr>
        <a:xfrm>
          <a:off x="4353966" y="1902420"/>
          <a:ext cx="1547812" cy="592038"/>
        </a:xfrm>
        <a:prstGeom prst="roundRect">
          <a:avLst>
            <a:gd name="adj" fmla="val 10000"/>
          </a:avLst>
        </a:prstGeom>
        <a:solidFill>
          <a:schemeClr val="accent3">
            <a:hueOff val="9750230"/>
            <a:satOff val="-14629"/>
            <a:lumOff val="-237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Correctness</a:t>
          </a:r>
          <a:endParaRPr lang="en-US" sz="1500" kern="1200" dirty="0"/>
        </a:p>
      </dsp:txBody>
      <dsp:txXfrm>
        <a:off x="4353966" y="1902420"/>
        <a:ext cx="1547812" cy="592038"/>
      </dsp:txXfrm>
    </dsp:sp>
    <dsp:sp modelId="{261C7135-9109-4506-8608-DB28763C6FFF}">
      <dsp:nvSpPr>
        <dsp:cNvPr id="0" name=""/>
        <dsp:cNvSpPr/>
      </dsp:nvSpPr>
      <dsp:spPr>
        <a:xfrm>
          <a:off x="4353966" y="2585541"/>
          <a:ext cx="1547812" cy="592038"/>
        </a:xfrm>
        <a:prstGeom prst="roundRect">
          <a:avLst>
            <a:gd name="adj" fmla="val 10000"/>
          </a:avLst>
        </a:prstGeom>
        <a:solidFill>
          <a:schemeClr val="accent3">
            <a:hueOff val="10500248"/>
            <a:satOff val="-15755"/>
            <a:lumOff val="-256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completeness</a:t>
          </a:r>
          <a:endParaRPr lang="en-US" sz="1500" kern="1200" dirty="0"/>
        </a:p>
      </dsp:txBody>
      <dsp:txXfrm>
        <a:off x="4353966" y="2585541"/>
        <a:ext cx="1547812" cy="592038"/>
      </dsp:txXfrm>
    </dsp:sp>
    <dsp:sp modelId="{6A3AA0FC-1FF9-4606-BBC6-4E448ABEE738}">
      <dsp:nvSpPr>
        <dsp:cNvPr id="0" name=""/>
        <dsp:cNvSpPr/>
      </dsp:nvSpPr>
      <dsp:spPr>
        <a:xfrm>
          <a:off x="4353966" y="3268662"/>
          <a:ext cx="1547812" cy="592038"/>
        </a:xfrm>
        <a:prstGeom prst="roundRect">
          <a:avLst>
            <a:gd name="adj" fmla="val 10000"/>
          </a:avLst>
        </a:prstGeom>
        <a:solidFill>
          <a:schemeClr val="accent3">
            <a:hueOff val="11250266"/>
            <a:satOff val="-16880"/>
            <a:lumOff val="-274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err="1" smtClean="0"/>
            <a:t>Buildability</a:t>
          </a:r>
          <a:endParaRPr lang="en-US" sz="1500" kern="1200" dirty="0"/>
        </a:p>
      </dsp:txBody>
      <dsp:txXfrm>
        <a:off x="4353966" y="3268662"/>
        <a:ext cx="1547812" cy="5920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10" Type="http://schemas.openxmlformats.org/officeDocument/2006/relationships/image" Target="../media/image5.png"/><Relationship Id="rId4" Type="http://schemas.openxmlformats.org/officeDocument/2006/relationships/tags" Target="../tags/tag3.xml"/><Relationship Id="rId9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9700E9-684F-44AD-945C-08A77F84859B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95F637-B0BA-4AFD-B5D9-9390854422C4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6747E0-DA95-4A23-938F-041911CB670F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2681" name="think-cell Slide" r:id="rId7" imgW="360" imgH="36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dirty="0" smtClean="0"/>
              <a:t>SS ZG653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41A165-0098-4580-939A-BAE6E4C86146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FD99AB-8937-4371-9690-32A9E3EA68AF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2F8B93-89E6-494B-B4AC-82C3ED12D96C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5B924-9DEE-4B74-9B9D-CC10EC62D2CF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F717B-CB25-4732-AF3A-6D1063B41139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12644-3606-49A9-B2B7-132D7720C204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E28887-4D78-4B74-ADFE-BC5FB07E79E9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4D0C184-59E1-47F7-8D20-48CD8F87AFD0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en-GB" sz="3600" dirty="0" smtClean="0"/>
              <a:t>SS ZG653 (RL 3.1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US" sz="2800" dirty="0" smtClean="0"/>
              <a:t>Quality classes and attribute, quality attribute scenario and architectural tactics </a:t>
            </a:r>
            <a:endParaRPr lang="en-GB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391400" y="654795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Jan 11, 201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ality Design Decis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o address a quality following 7 design decisions need to be taken</a:t>
            </a:r>
          </a:p>
          <a:p>
            <a:pPr lvl="1"/>
            <a:r>
              <a:rPr lang="en-US" dirty="0" smtClean="0"/>
              <a:t>Allocation of responsibilities</a:t>
            </a:r>
          </a:p>
          <a:p>
            <a:pPr lvl="1"/>
            <a:r>
              <a:rPr lang="en-US" dirty="0" smtClean="0"/>
              <a:t>Coordination</a:t>
            </a:r>
          </a:p>
          <a:p>
            <a:pPr lvl="1"/>
            <a:r>
              <a:rPr lang="en-US" dirty="0" smtClean="0"/>
              <a:t>Data model</a:t>
            </a:r>
          </a:p>
          <a:p>
            <a:pPr lvl="1"/>
            <a:r>
              <a:rPr lang="en-US" dirty="0" smtClean="0"/>
              <a:t>Resource Management</a:t>
            </a:r>
          </a:p>
          <a:p>
            <a:pPr lvl="1"/>
            <a:r>
              <a:rPr lang="en-US" dirty="0" smtClean="0"/>
              <a:t>Resource Binding</a:t>
            </a:r>
          </a:p>
          <a:p>
            <a:pPr lvl="1"/>
            <a:r>
              <a:rPr lang="en-US" dirty="0" smtClean="0"/>
              <a:t>Technology choic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half" idx="1"/>
          </p:nvPr>
        </p:nvSpPr>
        <p:spPr>
          <a:xfrm>
            <a:off x="457200" y="1143000"/>
            <a:ext cx="4038600" cy="5257800"/>
          </a:xfrm>
        </p:spPr>
        <p:txBody>
          <a:bodyPr lIns="36000" rIns="36000"/>
          <a:lstStyle/>
          <a:p>
            <a:r>
              <a:rPr lang="en-US" sz="2400" dirty="0" smtClean="0"/>
              <a:t>Responsibility Allocation</a:t>
            </a:r>
          </a:p>
          <a:p>
            <a:pPr lvl="1"/>
            <a:r>
              <a:rPr lang="en-US" sz="1500" dirty="0" smtClean="0"/>
              <a:t>Identify responsibilities (features) that are necessary for this quality requirement</a:t>
            </a:r>
          </a:p>
          <a:p>
            <a:pPr lvl="1"/>
            <a:r>
              <a:rPr lang="en-US" sz="1500" dirty="0" smtClean="0"/>
              <a:t>Which non-runtime (module) and runtime (components and connectors) should address the quality requirement</a:t>
            </a:r>
          </a:p>
          <a:p>
            <a:r>
              <a:rPr lang="en-US" sz="2400" dirty="0" smtClean="0"/>
              <a:t>Coordination</a:t>
            </a:r>
          </a:p>
          <a:p>
            <a:pPr lvl="1"/>
            <a:r>
              <a:rPr lang="en-US" sz="1500" dirty="0" smtClean="0"/>
              <a:t>Mechanism (stateless, </a:t>
            </a:r>
            <a:r>
              <a:rPr lang="en-US" sz="1500" dirty="0" err="1" smtClean="0"/>
              <a:t>stateful</a:t>
            </a:r>
            <a:r>
              <a:rPr lang="en-US" sz="1500" dirty="0" smtClean="0"/>
              <a:t>…)</a:t>
            </a:r>
          </a:p>
          <a:p>
            <a:pPr lvl="1"/>
            <a:r>
              <a:rPr lang="en-US" sz="1500" dirty="0" smtClean="0"/>
              <a:t>Properties of coordination (lossless, concurrent etc.)</a:t>
            </a:r>
          </a:p>
          <a:p>
            <a:pPr lvl="1"/>
            <a:r>
              <a:rPr lang="en-US" sz="1500" dirty="0" smtClean="0"/>
              <a:t>Which element should and shouldn’t communicate</a:t>
            </a:r>
          </a:p>
          <a:p>
            <a:r>
              <a:rPr lang="en-US" sz="2400" dirty="0" smtClean="0"/>
              <a:t>Data Model</a:t>
            </a:r>
          </a:p>
          <a:p>
            <a:pPr lvl="1"/>
            <a:r>
              <a:rPr lang="en-US" sz="1500" dirty="0" smtClean="0"/>
              <a:t>What’s the data structure, its creation, use, persistence, destruction mechanism</a:t>
            </a:r>
          </a:p>
          <a:p>
            <a:pPr lvl="1"/>
            <a:r>
              <a:rPr lang="en-US" sz="1500" dirty="0" smtClean="0"/>
              <a:t>Metadata</a:t>
            </a:r>
          </a:p>
          <a:p>
            <a:pPr lvl="1"/>
            <a:r>
              <a:rPr lang="en-US" sz="1500" dirty="0" smtClean="0"/>
              <a:t>Data organization</a:t>
            </a:r>
          </a:p>
          <a:p>
            <a:pPr lvl="1"/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half" idx="2"/>
          </p:nvPr>
        </p:nvSpPr>
        <p:spPr/>
        <p:txBody>
          <a:bodyPr lIns="36000" rIns="36000"/>
          <a:lstStyle/>
          <a:p>
            <a:r>
              <a:rPr lang="en-US" sz="2400" dirty="0" smtClean="0"/>
              <a:t>Resource management</a:t>
            </a:r>
          </a:p>
          <a:p>
            <a:pPr lvl="1"/>
            <a:r>
              <a:rPr lang="en-US" sz="1600" dirty="0" smtClean="0"/>
              <a:t>Identifying resources (CPU, I/O, memory, battery, system lock, thread pool..) and who should manage</a:t>
            </a:r>
          </a:p>
          <a:p>
            <a:pPr lvl="1"/>
            <a:r>
              <a:rPr lang="en-US" sz="1600" dirty="0" smtClean="0"/>
              <a:t>Arbitration policy</a:t>
            </a:r>
          </a:p>
          <a:p>
            <a:pPr lvl="1"/>
            <a:r>
              <a:rPr lang="en-US" sz="1600" dirty="0" smtClean="0"/>
              <a:t>Find impact of what happens when the threshold is exceeded</a:t>
            </a:r>
          </a:p>
          <a:p>
            <a:r>
              <a:rPr lang="en-US" sz="2400" dirty="0" smtClean="0"/>
              <a:t>Binding time decision</a:t>
            </a:r>
          </a:p>
          <a:p>
            <a:pPr lvl="1"/>
            <a:r>
              <a:rPr lang="en-US" sz="1600" dirty="0" smtClean="0"/>
              <a:t>Use parameterized </a:t>
            </a:r>
            <a:r>
              <a:rPr lang="en-US" sz="1600" dirty="0" err="1" smtClean="0"/>
              <a:t>makefiles</a:t>
            </a:r>
            <a:endParaRPr lang="en-US" sz="1600" dirty="0" smtClean="0"/>
          </a:p>
          <a:p>
            <a:pPr lvl="1"/>
            <a:r>
              <a:rPr lang="en-US" sz="1600" dirty="0" smtClean="0"/>
              <a:t>Design runtime protocol negotiation during coordination</a:t>
            </a:r>
          </a:p>
          <a:p>
            <a:pPr lvl="1"/>
            <a:r>
              <a:rPr lang="en-US" sz="1600" dirty="0" smtClean="0"/>
              <a:t>Runtime binding of new devices</a:t>
            </a:r>
          </a:p>
          <a:p>
            <a:pPr lvl="1"/>
            <a:r>
              <a:rPr lang="en-US" sz="1600" dirty="0" smtClean="0"/>
              <a:t>Runtime download of </a:t>
            </a:r>
            <a:r>
              <a:rPr lang="en-US" sz="1600" dirty="0" err="1" smtClean="0"/>
              <a:t>plugins</a:t>
            </a:r>
            <a:r>
              <a:rPr lang="en-US" sz="1600" dirty="0" smtClean="0"/>
              <a:t>/apps</a:t>
            </a:r>
          </a:p>
          <a:p>
            <a:r>
              <a:rPr lang="en-US" sz="2400" dirty="0" smtClean="0"/>
              <a:t>Technology choice</a:t>
            </a:r>
          </a:p>
          <a:p>
            <a:pPr lvl="1">
              <a:buNone/>
            </a:pPr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ality Design Decision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000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0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2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0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20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20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8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Business Qualities</a:t>
            </a:r>
            <a:endParaRPr lang="en-IN" altLang="en-US" smtClean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304800" y="1021131"/>
          <a:ext cx="8839200" cy="5455869"/>
        </p:xfrm>
        <a:graphic>
          <a:graphicData uri="http://schemas.openxmlformats.org/drawingml/2006/table">
            <a:tbl>
              <a:tblPr firstRow="1" bandRow="1">
                <a:tableStyleId>{EB9631B5-78F2-41C9-869B-9F39066F8104}</a:tableStyleId>
              </a:tblPr>
              <a:tblGrid>
                <a:gridCol w="1981200"/>
                <a:gridCol w="6858000"/>
              </a:tblGrid>
              <a:tr h="336254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/>
                        <a:t>Business Quality</a:t>
                      </a:r>
                      <a:endParaRPr lang="en-IN" sz="1800" b="1" dirty="0"/>
                    </a:p>
                  </a:txBody>
                  <a:tcPr marL="93133" marR="93133" marT="45715" marB="4571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/>
                        <a:t>Details</a:t>
                      </a:r>
                      <a:endParaRPr lang="en-IN" sz="1800" b="1" dirty="0"/>
                    </a:p>
                  </a:txBody>
                  <a:tcPr marL="93133" marR="93133" marT="45715" marB="45715"/>
                </a:tc>
              </a:tr>
              <a:tr h="853449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to Market</a:t>
                      </a:r>
                      <a:endParaRPr lang="en-IN" sz="2000" dirty="0"/>
                    </a:p>
                  </a:txBody>
                  <a:tcPr marL="93133" marR="93133" marT="45715" marB="45715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600" dirty="0" smtClean="0"/>
                        <a:t>Competitive Pressure</a:t>
                      </a:r>
                      <a:r>
                        <a:rPr lang="en-US" sz="1600" baseline="0" dirty="0" smtClean="0"/>
                        <a:t> – short window of opportunity for the product/system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600" baseline="0" dirty="0" smtClean="0"/>
                        <a:t>Build vs. Buy decisions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600" baseline="0" dirty="0" smtClean="0"/>
                        <a:t>Decomposition of system – insert a subset OR deploy a subset</a:t>
                      </a:r>
                      <a:endParaRPr lang="en-IN" sz="1600" dirty="0"/>
                    </a:p>
                  </a:txBody>
                  <a:tcPr marL="93133" marR="93133" marT="45715" marB="45715"/>
                </a:tc>
              </a:tr>
              <a:tr h="980758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Cost and benefit</a:t>
                      </a:r>
                      <a:endParaRPr lang="en-IN" sz="2000" dirty="0"/>
                    </a:p>
                  </a:txBody>
                  <a:tcPr marL="93133" marR="93133" marT="45715" marB="45715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600" dirty="0" smtClean="0"/>
                        <a:t>Development effort is budgeted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600" dirty="0" smtClean="0"/>
                        <a:t>Architecture choices lead</a:t>
                      </a:r>
                      <a:r>
                        <a:rPr lang="en-US" sz="1600" baseline="0" dirty="0" smtClean="0"/>
                        <a:t> to development effort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600" baseline="0" dirty="0" smtClean="0"/>
                        <a:t>Use of available expertise, technology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600" baseline="0" dirty="0" smtClean="0"/>
                        <a:t>Highly flexible architecture costs higher</a:t>
                      </a:r>
                      <a:endParaRPr lang="en-IN" sz="1600" dirty="0"/>
                    </a:p>
                  </a:txBody>
                  <a:tcPr marL="93133" marR="93133" marT="45715" marB="45715"/>
                </a:tc>
              </a:tr>
              <a:tr h="980758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Projected lifetime of the system</a:t>
                      </a:r>
                      <a:endParaRPr lang="en-IN" sz="2000" dirty="0"/>
                    </a:p>
                  </a:txBody>
                  <a:tcPr marL="93133" marR="93133" marT="45715" marB="45715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600" dirty="0" smtClean="0"/>
                        <a:t>The</a:t>
                      </a:r>
                      <a:r>
                        <a:rPr lang="en-US" sz="1600" baseline="0" dirty="0" smtClean="0"/>
                        <a:t> product that</a:t>
                      </a:r>
                      <a:r>
                        <a:rPr lang="en-US" sz="1600" dirty="0" smtClean="0"/>
                        <a:t>needs</a:t>
                      </a:r>
                      <a:r>
                        <a:rPr lang="en-US" sz="1600" baseline="0" dirty="0" smtClean="0"/>
                        <a:t> to survive for longer time needs to be modifiable, scalable, portable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600" baseline="0" dirty="0" smtClean="0"/>
                        <a:t>Such systems live longer; however may not meet the time-to-market requirement</a:t>
                      </a:r>
                      <a:endParaRPr lang="en-IN" sz="1600" dirty="0"/>
                    </a:p>
                  </a:txBody>
                  <a:tcPr marL="93133" marR="93133" marT="45715" marB="45715"/>
                </a:tc>
              </a:tr>
              <a:tr h="756582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argeted Market</a:t>
                      </a:r>
                      <a:endParaRPr lang="en-IN" sz="2000" dirty="0"/>
                    </a:p>
                  </a:txBody>
                  <a:tcPr marL="93133" marR="93133" marT="45715" marB="45715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600" dirty="0" smtClean="0"/>
                        <a:t>Size of potential market depends</a:t>
                      </a:r>
                      <a:r>
                        <a:rPr lang="en-US" sz="1600" baseline="0" dirty="0" smtClean="0"/>
                        <a:t> on feature set and the platform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600" baseline="0" dirty="0" smtClean="0"/>
                        <a:t>Portability and functionality key to market share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600" baseline="0" dirty="0" smtClean="0"/>
                        <a:t>Establish a large market; a product line approach is well suited</a:t>
                      </a:r>
                      <a:endParaRPr lang="en-IN" sz="1600" dirty="0"/>
                    </a:p>
                  </a:txBody>
                  <a:tcPr marL="93133" marR="93133" marT="45715" marB="45715"/>
                </a:tc>
              </a:tr>
              <a:tr h="532407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Rollout Schedule</a:t>
                      </a:r>
                      <a:endParaRPr lang="en-IN" sz="2000" dirty="0"/>
                    </a:p>
                  </a:txBody>
                  <a:tcPr marL="93133" marR="93133" marT="45715" marB="45715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600" dirty="0" smtClean="0"/>
                        <a:t>Phased</a:t>
                      </a:r>
                      <a:r>
                        <a:rPr lang="en-US" sz="1600" baseline="0" dirty="0" smtClean="0"/>
                        <a:t> rollouts; base + additional features spaced in time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600" baseline="0" dirty="0" smtClean="0"/>
                        <a:t>Flexibility and customizability become the key</a:t>
                      </a:r>
                      <a:endParaRPr lang="en-IN" sz="1600" dirty="0"/>
                    </a:p>
                  </a:txBody>
                  <a:tcPr marL="93133" marR="93133" marT="45715" marB="45715"/>
                </a:tc>
              </a:tr>
              <a:tr h="502960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Integration with Legacy System</a:t>
                      </a:r>
                      <a:endParaRPr lang="en-IN" sz="2000" dirty="0"/>
                    </a:p>
                  </a:txBody>
                  <a:tcPr marL="93133" marR="93133" marT="45715" marB="45715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600" dirty="0" smtClean="0"/>
                        <a:t>Appropriate integration mechanisms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600" dirty="0" smtClean="0"/>
                        <a:t>Much implications</a:t>
                      </a:r>
                      <a:r>
                        <a:rPr lang="en-US" sz="1600" baseline="0" dirty="0" smtClean="0"/>
                        <a:t> on architecture</a:t>
                      </a:r>
                      <a:endParaRPr lang="en-IN" sz="1600" dirty="0"/>
                    </a:p>
                  </a:txBody>
                  <a:tcPr marL="93133" marR="93133" marT="45715" marB="45715"/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172462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Architectural Qualities</a:t>
            </a:r>
            <a:endParaRPr lang="en-IN" altLang="en-US" smtClean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304800" y="1600200"/>
          <a:ext cx="8382000" cy="3505200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2517499"/>
                <a:gridCol w="5864501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Architectural Quality</a:t>
                      </a:r>
                      <a:endParaRPr lang="en-IN" sz="2000" b="1" dirty="0"/>
                    </a:p>
                  </a:txBody>
                  <a:tcPr marL="93133" marR="931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Details</a:t>
                      </a:r>
                      <a:endParaRPr lang="en-IN" sz="2000" b="1" dirty="0"/>
                    </a:p>
                  </a:txBody>
                  <a:tcPr marL="93133" marR="93133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Conceptual Integrity</a:t>
                      </a:r>
                      <a:endParaRPr lang="en-IN" sz="2400" dirty="0"/>
                    </a:p>
                  </a:txBody>
                  <a:tcPr marL="93133" marR="93133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800" dirty="0" smtClean="0"/>
                        <a:t>Architecture should do similar</a:t>
                      </a:r>
                      <a:r>
                        <a:rPr lang="en-US" sz="1800" baseline="0" dirty="0" smtClean="0"/>
                        <a:t> things in similar ways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800" baseline="0" dirty="0" smtClean="0"/>
                        <a:t>Unify the design at all levels</a:t>
                      </a:r>
                      <a:endParaRPr lang="en-IN" sz="1800" dirty="0"/>
                    </a:p>
                  </a:txBody>
                  <a:tcPr marL="93133" marR="93133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Correctness and Completeness</a:t>
                      </a:r>
                      <a:endParaRPr lang="en-IN" sz="2400" dirty="0"/>
                    </a:p>
                  </a:txBody>
                  <a:tcPr marL="93133" marR="93133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800" dirty="0" smtClean="0"/>
                        <a:t>Essential to</a:t>
                      </a:r>
                      <a:r>
                        <a:rPr lang="en-US" sz="1800" baseline="0" dirty="0" smtClean="0"/>
                        <a:t> ensure system’s requirements and run time constraints are met</a:t>
                      </a:r>
                      <a:endParaRPr lang="en-IN" sz="1800" dirty="0"/>
                    </a:p>
                  </a:txBody>
                  <a:tcPr marL="93133" marR="93133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smtClean="0"/>
                        <a:t>Build ability</a:t>
                      </a:r>
                      <a:endParaRPr lang="en-IN" sz="2400" dirty="0"/>
                    </a:p>
                  </a:txBody>
                  <a:tcPr marL="93133" marR="93133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800" dirty="0" smtClean="0"/>
                        <a:t>Implemented by the available team in a timely manner with high quality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800" dirty="0" smtClean="0"/>
                        <a:t>Open to changes or modifications as time progresses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800" dirty="0" smtClean="0"/>
                        <a:t>Usually</a:t>
                      </a:r>
                      <a:r>
                        <a:rPr lang="en-US" sz="1800" baseline="0" dirty="0" smtClean="0"/>
                        <a:t> measured in cost and time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800" baseline="0" dirty="0" smtClean="0"/>
                        <a:t>Knowledge about the problem to be solved</a:t>
                      </a:r>
                      <a:endParaRPr lang="en-IN" sz="1800" dirty="0"/>
                    </a:p>
                  </a:txBody>
                  <a:tcPr marL="93133" marR="93133"/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2437881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/>
              <a:t>A</a:t>
            </a:r>
            <a:r>
              <a:rPr lang="en-US" altLang="en-US" dirty="0" smtClean="0"/>
              <a:t> step back</a:t>
            </a:r>
            <a:endParaRPr lang="en-IN" altLang="en-US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CE3AF8-5840-4E0E-AA21-F7777620D932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hat is functionality?</a:t>
            </a:r>
          </a:p>
          <a:p>
            <a:pPr lvl="1"/>
            <a:r>
              <a:rPr lang="en-US" sz="2400" dirty="0" smtClean="0"/>
              <a:t>Ability of the system to fulfill its responsibilities</a:t>
            </a:r>
          </a:p>
          <a:p>
            <a:r>
              <a:rPr lang="en-US" dirty="0" smtClean="0"/>
              <a:t>Software Quality Attributes- also called non-functional properties</a:t>
            </a:r>
          </a:p>
          <a:p>
            <a:pPr lvl="1"/>
            <a:r>
              <a:rPr lang="en-US" sz="2400" dirty="0" smtClean="0"/>
              <a:t>Orthogonal to functionality</a:t>
            </a:r>
          </a:p>
          <a:p>
            <a:pPr lvl="1"/>
            <a:r>
              <a:rPr lang="en-US" sz="2400" dirty="0" smtClean="0"/>
              <a:t>is a constraint that the system must satisfy while delivering its functionality </a:t>
            </a:r>
          </a:p>
          <a:p>
            <a:r>
              <a:rPr lang="en-US" dirty="0" smtClean="0"/>
              <a:t>Design Decisions</a:t>
            </a:r>
          </a:p>
          <a:p>
            <a:pPr lvl="1"/>
            <a:r>
              <a:rPr lang="en-US" sz="2400" dirty="0" smtClean="0"/>
              <a:t>A constraint driven by external factors (use of a programming language, making everything service oriented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6990018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52400"/>
            <a:ext cx="8229600" cy="939800"/>
          </a:xfrm>
        </p:spPr>
        <p:txBody>
          <a:bodyPr/>
          <a:lstStyle/>
          <a:p>
            <a:r>
              <a:rPr lang="en-US" dirty="0" smtClean="0"/>
              <a:t>Consider the following requirem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User interface should be easy to use</a:t>
            </a:r>
          </a:p>
          <a:p>
            <a:pPr lvl="1"/>
            <a:r>
              <a:rPr lang="en-US" sz="2000" dirty="0" smtClean="0"/>
              <a:t>Radio button or check box? Clear text? Screen layout? --- NOT architectural decisions</a:t>
            </a:r>
          </a:p>
          <a:p>
            <a:r>
              <a:rPr lang="en-US" sz="2400" dirty="0" smtClean="0"/>
              <a:t>User interface should allow redo/undo at any level of depth</a:t>
            </a:r>
          </a:p>
          <a:p>
            <a:pPr lvl="1"/>
            <a:r>
              <a:rPr lang="en-US" sz="2000" dirty="0" smtClean="0"/>
              <a:t>Architectural decision</a:t>
            </a:r>
          </a:p>
          <a:p>
            <a:r>
              <a:rPr lang="en-US" sz="2400" dirty="0" smtClean="0"/>
              <a:t>The system should be modifiable with least impact</a:t>
            </a:r>
          </a:p>
          <a:p>
            <a:pPr lvl="1"/>
            <a:r>
              <a:rPr lang="en-US" sz="2000" dirty="0" smtClean="0"/>
              <a:t>Modular design is must – Architectural</a:t>
            </a:r>
          </a:p>
          <a:p>
            <a:pPr lvl="1"/>
            <a:r>
              <a:rPr lang="en-US" sz="2000" dirty="0" smtClean="0"/>
              <a:t>Coding technique should be simple – not architectural</a:t>
            </a:r>
          </a:p>
          <a:p>
            <a:endParaRPr lang="en-US" sz="2400" dirty="0" smtClean="0"/>
          </a:p>
          <a:p>
            <a:r>
              <a:rPr lang="en-US" sz="2400" dirty="0" smtClean="0"/>
              <a:t>Need to process 300 requests/sec </a:t>
            </a:r>
          </a:p>
          <a:p>
            <a:pPr lvl="1"/>
            <a:r>
              <a:rPr lang="en-US" sz="2000" dirty="0" smtClean="0"/>
              <a:t>Interaction among components, data sharing issues--architectural</a:t>
            </a:r>
          </a:p>
          <a:p>
            <a:pPr lvl="1"/>
            <a:r>
              <a:rPr lang="en-US" sz="2000" dirty="0" smtClean="0"/>
              <a:t>Choice of algorithm to handle transactions -- non architectural</a:t>
            </a:r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621194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382000" cy="939800"/>
          </a:xfrm>
        </p:spPr>
        <p:txBody>
          <a:bodyPr/>
          <a:lstStyle/>
          <a:p>
            <a:pPr eaLnBrk="1" hangingPunct="1"/>
            <a:r>
              <a:rPr lang="en-US" altLang="en-US" dirty="0" smtClean="0"/>
              <a:t>Quality Attributes and Functionality</a:t>
            </a:r>
            <a:endParaRPr lang="en-IN" altLang="en-US" dirty="0" smtClean="0"/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2800" dirty="0" smtClean="0"/>
              <a:t>Any product (software products included) is sold based on its functionality – which are its features</a:t>
            </a:r>
          </a:p>
          <a:p>
            <a:pPr lvl="1">
              <a:lnSpc>
                <a:spcPct val="90000"/>
              </a:lnSpc>
            </a:pPr>
            <a:r>
              <a:rPr lang="en-US" altLang="en-US" sz="2400" dirty="0" smtClean="0"/>
              <a:t>Mobile phone, MS-Office software</a:t>
            </a:r>
          </a:p>
          <a:p>
            <a:pPr lvl="1">
              <a:lnSpc>
                <a:spcPct val="90000"/>
              </a:lnSpc>
            </a:pPr>
            <a:r>
              <a:rPr lang="en-US" altLang="en-US" sz="2400" dirty="0" smtClean="0"/>
              <a:t>Providing the desired functionality is often quite challenging</a:t>
            </a:r>
          </a:p>
          <a:p>
            <a:pPr lvl="2">
              <a:lnSpc>
                <a:spcPct val="90000"/>
              </a:lnSpc>
            </a:pPr>
            <a:r>
              <a:rPr lang="en-US" altLang="en-US" dirty="0" smtClean="0"/>
              <a:t>Time to market</a:t>
            </a:r>
          </a:p>
          <a:p>
            <a:pPr lvl="2">
              <a:lnSpc>
                <a:spcPct val="90000"/>
              </a:lnSpc>
            </a:pPr>
            <a:r>
              <a:rPr lang="en-US" altLang="en-US" dirty="0" smtClean="0"/>
              <a:t>Cost and budget</a:t>
            </a:r>
          </a:p>
          <a:p>
            <a:pPr lvl="2">
              <a:lnSpc>
                <a:spcPct val="90000"/>
              </a:lnSpc>
            </a:pPr>
            <a:r>
              <a:rPr lang="en-US" altLang="en-US" dirty="0" smtClean="0"/>
              <a:t>Rollout Schedule</a:t>
            </a:r>
          </a:p>
          <a:p>
            <a:pPr>
              <a:lnSpc>
                <a:spcPct val="90000"/>
              </a:lnSpc>
            </a:pPr>
            <a:r>
              <a:rPr lang="en-US" altLang="en-US" sz="2800" dirty="0" smtClean="0"/>
              <a:t>Functionality DOES NOT determine the architecture. If functionality is the only thing you need </a:t>
            </a:r>
          </a:p>
          <a:p>
            <a:pPr lvl="1">
              <a:lnSpc>
                <a:spcPct val="90000"/>
              </a:lnSpc>
            </a:pPr>
            <a:r>
              <a:rPr lang="en-US" altLang="en-US" sz="2400" dirty="0" smtClean="0"/>
              <a:t>It is perfectly fine to create a monolithic software blob!</a:t>
            </a:r>
          </a:p>
          <a:p>
            <a:pPr lvl="1">
              <a:lnSpc>
                <a:spcPct val="90000"/>
              </a:lnSpc>
            </a:pPr>
            <a:r>
              <a:rPr lang="en-US" altLang="en-US" sz="2400" dirty="0" smtClean="0"/>
              <a:t>You wouldn’t require modules, threads, distributed systems, etc.</a:t>
            </a:r>
          </a:p>
          <a:p>
            <a:pPr eaLnBrk="1" hangingPunct="1"/>
            <a:endParaRPr lang="en-US" altLang="en-US" sz="2800" dirty="0" smtClean="0"/>
          </a:p>
          <a:p>
            <a:pPr lvl="1" eaLnBrk="1" hangingPunct="1"/>
            <a:endParaRPr lang="en-IN" altLang="en-US" sz="20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3E5EDD4-8D44-4033-8B1F-4B6E82B06E64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965696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84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84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84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84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184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184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843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1843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000"/>
                                        <p:tgtEl>
                                          <p:spTgt spid="1843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435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Examples of Quality Attributes</a:t>
            </a:r>
            <a:endParaRPr lang="en-IN" altLang="en-US" dirty="0" smtClean="0"/>
          </a:p>
        </p:txBody>
      </p:sp>
      <p:sp>
        <p:nvSpPr>
          <p:cNvPr id="1536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sz="2800" dirty="0" smtClean="0"/>
              <a:t>Availability</a:t>
            </a:r>
          </a:p>
          <a:p>
            <a:pPr eaLnBrk="1" hangingPunct="1"/>
            <a:r>
              <a:rPr lang="en-US" altLang="en-US" sz="2800" dirty="0" smtClean="0"/>
              <a:t>Performance</a:t>
            </a:r>
          </a:p>
          <a:p>
            <a:pPr eaLnBrk="1" hangingPunct="1"/>
            <a:r>
              <a:rPr lang="en-US" altLang="en-US" sz="2800" dirty="0" smtClean="0"/>
              <a:t>Security</a:t>
            </a:r>
          </a:p>
          <a:p>
            <a:pPr eaLnBrk="1" hangingPunct="1"/>
            <a:r>
              <a:rPr lang="en-US" altLang="en-US" sz="2800" dirty="0" smtClean="0"/>
              <a:t>Usability</a:t>
            </a:r>
          </a:p>
          <a:p>
            <a:pPr eaLnBrk="1" hangingPunct="1"/>
            <a:r>
              <a:rPr lang="en-US" altLang="en-US" sz="2800" dirty="0" smtClean="0"/>
              <a:t>Functionality</a:t>
            </a:r>
          </a:p>
          <a:p>
            <a:pPr eaLnBrk="1" hangingPunct="1"/>
            <a:r>
              <a:rPr lang="en-US" altLang="en-US" sz="2800" dirty="0" smtClean="0"/>
              <a:t>Modifiability</a:t>
            </a:r>
          </a:p>
          <a:p>
            <a:pPr eaLnBrk="1" hangingPunct="1"/>
            <a:r>
              <a:rPr lang="en-US" altLang="en-US" sz="2800" dirty="0" smtClean="0"/>
              <a:t>Portability</a:t>
            </a:r>
          </a:p>
          <a:p>
            <a:pPr eaLnBrk="1" hangingPunct="1"/>
            <a:r>
              <a:rPr lang="en-US" altLang="en-US" sz="2800" dirty="0" smtClean="0"/>
              <a:t>Reusability</a:t>
            </a:r>
          </a:p>
          <a:p>
            <a:pPr eaLnBrk="1" hangingPunct="1"/>
            <a:r>
              <a:rPr lang="en-US" altLang="en-US" sz="2800" dirty="0" err="1" smtClean="0"/>
              <a:t>Integrability</a:t>
            </a:r>
            <a:endParaRPr lang="en-US" altLang="en-US" sz="2800" dirty="0" smtClean="0"/>
          </a:p>
          <a:p>
            <a:pPr eaLnBrk="1" hangingPunct="1"/>
            <a:r>
              <a:rPr lang="en-US" altLang="en-US" sz="2800" dirty="0" smtClean="0"/>
              <a:t>Testability</a:t>
            </a:r>
            <a:endParaRPr lang="en-IN" altLang="en-US" sz="28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D138D9-0755-4144-B34F-1712382F4A79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3276600" y="1371600"/>
            <a:ext cx="5486400" cy="5082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dirty="0" smtClean="0"/>
              <a:t>The success of a product will ultimately rest on its Quality attributes</a:t>
            </a:r>
          </a:p>
          <a:p>
            <a:pPr lvl="1">
              <a:lnSpc>
                <a:spcPct val="90000"/>
              </a:lnSpc>
            </a:pPr>
            <a:r>
              <a:rPr lang="en-US" altLang="en-US" dirty="0" smtClean="0"/>
              <a:t>“Too slow!”-- performance</a:t>
            </a:r>
          </a:p>
          <a:p>
            <a:pPr lvl="1">
              <a:lnSpc>
                <a:spcPct val="90000"/>
              </a:lnSpc>
            </a:pPr>
            <a:r>
              <a:rPr lang="en-US" altLang="en-US" dirty="0" smtClean="0"/>
              <a:t>“Keeps crashing!” --- availability</a:t>
            </a:r>
          </a:p>
          <a:p>
            <a:pPr lvl="1">
              <a:lnSpc>
                <a:spcPct val="90000"/>
              </a:lnSpc>
            </a:pPr>
            <a:r>
              <a:rPr lang="en-US" altLang="en-US" dirty="0" smtClean="0"/>
              <a:t>“So many security holes!” --- security</a:t>
            </a:r>
          </a:p>
          <a:p>
            <a:pPr lvl="1">
              <a:lnSpc>
                <a:spcPct val="90000"/>
              </a:lnSpc>
            </a:pPr>
            <a:r>
              <a:rPr lang="en-US" altLang="en-US" dirty="0" smtClean="0"/>
              <a:t>“Reboot every time a feature is changed!” --- modifiability</a:t>
            </a:r>
          </a:p>
          <a:p>
            <a:pPr lvl="1">
              <a:lnSpc>
                <a:spcPct val="90000"/>
              </a:lnSpc>
            </a:pPr>
            <a:r>
              <a:rPr lang="en-US" altLang="en-US" dirty="0" smtClean="0"/>
              <a:t>“Does not work with my home theater!” --- </a:t>
            </a:r>
            <a:r>
              <a:rPr lang="en-US" altLang="en-US" dirty="0" err="1" smtClean="0"/>
              <a:t>integrability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altLang="en-US" dirty="0" smtClean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dirty="0" smtClean="0"/>
              <a:t>Needs to be achieved throughout the design, implementation and deployment</a:t>
            </a:r>
          </a:p>
          <a:p>
            <a:pPr marL="2857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dirty="0" smtClean="0"/>
              <a:t>Should be designed in and also evaluated at the architectural level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dirty="0" smtClean="0"/>
              <a:t>Quality attributes are NON-orthogonal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dirty="0" smtClean="0"/>
              <a:t>One can have an effect (positive or negative) on another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dirty="0" smtClean="0"/>
              <a:t>Performance is troubled by nearly all other. All other demand more code where-as performance demands the least</a:t>
            </a:r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689054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3600" dirty="0" smtClean="0"/>
              <a:t>Defining and understanding system quality attributes</a:t>
            </a:r>
            <a:endParaRPr lang="en-IN" altLang="en-US" sz="3600" dirty="0" smtClean="0"/>
          </a:p>
        </p:txBody>
      </p:sp>
      <p:sp>
        <p:nvSpPr>
          <p:cNvPr id="2048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 eaLnBrk="1" hangingPunct="1"/>
            <a:r>
              <a:rPr lang="en-US" altLang="en-US" sz="2800" dirty="0" smtClean="0"/>
              <a:t>Defining a quality attribute for a system</a:t>
            </a:r>
          </a:p>
          <a:p>
            <a:pPr marL="914400" lvl="1" indent="-514350" eaLnBrk="1" hangingPunct="1"/>
            <a:r>
              <a:rPr lang="en-US" altLang="en-US" sz="2400" dirty="0" smtClean="0"/>
              <a:t>System should be modifiable --- vague, ambiguous</a:t>
            </a:r>
          </a:p>
          <a:p>
            <a:pPr marL="514350" indent="-514350" eaLnBrk="1" hangingPunct="1"/>
            <a:r>
              <a:rPr lang="en-US" altLang="en-US" sz="2800" dirty="0" smtClean="0"/>
              <a:t>How to associate a failure to a quality attribute</a:t>
            </a:r>
          </a:p>
          <a:p>
            <a:pPr marL="914400" lvl="1" indent="-514350" eaLnBrk="1" hangingPunct="1"/>
            <a:r>
              <a:rPr lang="en-US" altLang="en-US" sz="2400" dirty="0" smtClean="0"/>
              <a:t>Is it an availability problem, performance problem or security or all of them?</a:t>
            </a:r>
          </a:p>
          <a:p>
            <a:pPr marL="514350" indent="-514350" eaLnBrk="1" hangingPunct="1"/>
            <a:r>
              <a:rPr lang="en-US" altLang="en-US" sz="2800" dirty="0" smtClean="0"/>
              <a:t>Everyone has his own vocabulary of quality</a:t>
            </a:r>
          </a:p>
          <a:p>
            <a:pPr marL="514350" indent="-514350" eaLnBrk="1" hangingPunct="1"/>
            <a:endParaRPr lang="en-US" altLang="en-US" sz="2800" dirty="0" smtClean="0"/>
          </a:p>
          <a:p>
            <a:pPr marL="514350" indent="-514350" eaLnBrk="1" hangingPunct="1"/>
            <a:r>
              <a:rPr lang="en-US" altLang="en-US" sz="2800" dirty="0" smtClean="0"/>
              <a:t>ISO 9126 and ISO 25000 attempts to create a framework to define quality attribut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0F811E4-0E95-4D89-8C44-53C81E3A66A8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398857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0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0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20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20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20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20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8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Three Quality Classes</a:t>
            </a:r>
            <a:endParaRPr lang="en-IN" altLang="en-US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58C37F5-4473-4B93-9C0E-0ABD540A985E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 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="" xmlns:p14="http://schemas.microsoft.com/office/powerpoint/2010/main" xmlns:mv="urn:schemas-microsoft-com:mac:vml" xmlns:mc="http://schemas.openxmlformats.org/markup-compatibility/2006" val="1243463547"/>
              </p:ext>
            </p:extLst>
          </p:nvPr>
        </p:nvGraphicFramePr>
        <p:xfrm>
          <a:off x="1447800" y="13716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Oval 3"/>
          <p:cNvSpPr/>
          <p:nvPr/>
        </p:nvSpPr>
        <p:spPr>
          <a:xfrm>
            <a:off x="1295400" y="2514600"/>
            <a:ext cx="2133600" cy="304800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Line Callout 1 (Accent Bar) 4"/>
          <p:cNvSpPr/>
          <p:nvPr/>
        </p:nvSpPr>
        <p:spPr>
          <a:xfrm>
            <a:off x="3429000" y="5334001"/>
            <a:ext cx="5715000" cy="1066800"/>
          </a:xfrm>
          <a:prstGeom prst="accentCallout1">
            <a:avLst>
              <a:gd name="adj1" fmla="val 16812"/>
              <a:gd name="adj2" fmla="val -82"/>
              <a:gd name="adj3" fmla="val 3716"/>
              <a:gd name="adj4" fmla="val -10868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We will consider these attribu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We will use “</a:t>
            </a:r>
            <a:r>
              <a:rPr lang="en-US" sz="1600" b="1" u="sng" dirty="0" smtClean="0">
                <a:solidFill>
                  <a:schemeClr val="tx1"/>
                </a:solidFill>
              </a:rPr>
              <a:t>Quality Attribute Scenarios</a:t>
            </a:r>
            <a:r>
              <a:rPr lang="en-US" sz="1600" dirty="0" smtClean="0">
                <a:solidFill>
                  <a:schemeClr val="tx1"/>
                </a:solidFill>
              </a:rPr>
              <a:t>” to characterize the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which is a quality attribute specific  requirement</a:t>
            </a: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4252022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Quality Attribute Scenario</a:t>
            </a:r>
            <a:endParaRPr lang="en-IN" altLang="en-US" dirty="0" smtClean="0"/>
          </a:p>
        </p:txBody>
      </p:sp>
      <p:sp>
        <p:nvSpPr>
          <p:cNvPr id="5" name="Rounded Rectangle 4"/>
          <p:cNvSpPr/>
          <p:nvPr/>
        </p:nvSpPr>
        <p:spPr>
          <a:xfrm>
            <a:off x="357158" y="1400164"/>
            <a:ext cx="1785950" cy="1571636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/>
              <a:t>Source of Stimulus</a:t>
            </a:r>
            <a:endParaRPr lang="en-IN" sz="2000" b="1" dirty="0"/>
          </a:p>
        </p:txBody>
      </p:sp>
      <p:sp>
        <p:nvSpPr>
          <p:cNvPr id="6" name="Rounded Rectangle 5"/>
          <p:cNvSpPr/>
          <p:nvPr/>
        </p:nvSpPr>
        <p:spPr>
          <a:xfrm>
            <a:off x="3643306" y="1400164"/>
            <a:ext cx="1785950" cy="1571636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b" anchorCtr="1"/>
          <a:lstStyle/>
          <a:p>
            <a:pPr algn="ctr">
              <a:defRPr/>
            </a:pPr>
            <a:r>
              <a:rPr lang="en-US" sz="2000" b="1" dirty="0"/>
              <a:t>Environment</a:t>
            </a:r>
            <a:endParaRPr lang="en-IN" sz="2000" b="1" dirty="0"/>
          </a:p>
        </p:txBody>
      </p:sp>
      <p:sp>
        <p:nvSpPr>
          <p:cNvPr id="7" name="Rounded Rectangle 6"/>
          <p:cNvSpPr/>
          <p:nvPr/>
        </p:nvSpPr>
        <p:spPr>
          <a:xfrm>
            <a:off x="6929454" y="1400164"/>
            <a:ext cx="1785950" cy="1571636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 smtClean="0"/>
              <a:t>Measure</a:t>
            </a:r>
            <a:endParaRPr lang="en-IN" sz="2000" b="1" dirty="0"/>
          </a:p>
        </p:txBody>
      </p:sp>
      <p:sp>
        <p:nvSpPr>
          <p:cNvPr id="8" name="Right Arrow 7"/>
          <p:cNvSpPr/>
          <p:nvPr/>
        </p:nvSpPr>
        <p:spPr>
          <a:xfrm>
            <a:off x="2143108" y="1685916"/>
            <a:ext cx="1500198" cy="928694"/>
          </a:xfrm>
          <a:prstGeom prst="rightArrow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/>
              <a:t>Stimulus</a:t>
            </a:r>
            <a:endParaRPr lang="en-IN" sz="2000" b="1" dirty="0"/>
          </a:p>
        </p:txBody>
      </p:sp>
      <p:sp>
        <p:nvSpPr>
          <p:cNvPr id="9" name="Right Arrow 8"/>
          <p:cNvSpPr/>
          <p:nvPr/>
        </p:nvSpPr>
        <p:spPr>
          <a:xfrm>
            <a:off x="5429256" y="1685916"/>
            <a:ext cx="1500198" cy="928694"/>
          </a:xfrm>
          <a:prstGeom prst="rightArrow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/>
              <a:t>Response</a:t>
            </a:r>
            <a:endParaRPr lang="en-IN" sz="2000" b="1" dirty="0"/>
          </a:p>
        </p:txBody>
      </p:sp>
      <p:sp>
        <p:nvSpPr>
          <p:cNvPr id="10" name="Rectangle 9"/>
          <p:cNvSpPr/>
          <p:nvPr/>
        </p:nvSpPr>
        <p:spPr>
          <a:xfrm>
            <a:off x="428625" y="3000375"/>
            <a:ext cx="1619250" cy="1785938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Entity (human, another software) that generates the stimulus</a:t>
            </a:r>
            <a:endParaRPr lang="en-IN" b="1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132013" y="3000375"/>
            <a:ext cx="1511293" cy="1785938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Condition that the system needs to consider when it arrives</a:t>
            </a:r>
            <a:endParaRPr lang="en-IN" b="1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714750" y="3000375"/>
            <a:ext cx="1619250" cy="3071813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b" anchorCtr="1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Conditions when the stimulus occurs</a:t>
            </a:r>
            <a:endParaRPr lang="en-IN" b="1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507966" y="3000375"/>
            <a:ext cx="1273834" cy="1785938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45720" rIns="4572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Activity undertaken as a result of stimulus</a:t>
            </a:r>
            <a:endParaRPr lang="en-IN" b="1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086599" y="3000374"/>
            <a:ext cx="1447801" cy="2867026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A measurable response which can be </a:t>
            </a:r>
            <a:r>
              <a:rPr lang="en-US" sz="2000" b="1" dirty="0" smtClean="0">
                <a:solidFill>
                  <a:schemeClr val="tx1"/>
                </a:solidFill>
              </a:rPr>
              <a:t>tested for correctness of quality attribute</a:t>
            </a:r>
            <a:endParaRPr lang="en-IN" sz="2000" b="1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86188" y="3071813"/>
            <a:ext cx="1428750" cy="171450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t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Some part or the whole system is affected</a:t>
            </a:r>
            <a:endParaRPr lang="en-IN" b="1" dirty="0">
              <a:solidFill>
                <a:schemeClr val="tx1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3857620" y="1614478"/>
            <a:ext cx="1357322" cy="642942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 err="1" smtClean="0"/>
              <a:t>ImpactedArtifact</a:t>
            </a:r>
            <a:endParaRPr lang="en-IN" sz="20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714348" y="4786322"/>
            <a:ext cx="1107996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8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  <a:latin typeface="Copperplate Gothic Bold" pitchFamily="34" charset="0"/>
              </a:rPr>
              <a:t>Who</a:t>
            </a:r>
            <a:endParaRPr lang="en-IN" sz="2800" b="1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  <a:latin typeface="Copperplate Gothic Bold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714744" y="4263093"/>
            <a:ext cx="1560748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8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  <a:latin typeface="Copperplate Gothic Bold" pitchFamily="34" charset="0"/>
              </a:rPr>
              <a:t>Where</a:t>
            </a:r>
            <a:endParaRPr lang="en-IN" sz="2800" b="1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  <a:latin typeface="Copperplate Gothic Bold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864892" y="5977614"/>
            <a:ext cx="1350050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8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  <a:latin typeface="Copperplate Gothic Bold" pitchFamily="34" charset="0"/>
              </a:rPr>
              <a:t>When</a:t>
            </a:r>
            <a:endParaRPr lang="en-IN" sz="2800" b="1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  <a:latin typeface="Copperplate Gothic Bold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507966" y="5967350"/>
            <a:ext cx="1460080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8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  <a:latin typeface="Copperplate Gothic Bold" pitchFamily="34" charset="0"/>
              </a:rPr>
              <a:t>Which</a:t>
            </a:r>
            <a:endParaRPr lang="en-IN" sz="2800" b="1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  <a:latin typeface="Copperplate Gothic Bold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286644" y="5967350"/>
            <a:ext cx="1083951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8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  <a:latin typeface="Copperplate Gothic Bold" pitchFamily="34" charset="0"/>
              </a:rPr>
              <a:t>How</a:t>
            </a:r>
            <a:endParaRPr lang="en-IN" sz="2800" b="1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  <a:latin typeface="Copperplate Gothic Bold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265100" y="4786322"/>
            <a:ext cx="1306768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800" b="1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  <a:latin typeface="Copperplate Gothic Bold" pitchFamily="34" charset="0"/>
              </a:rPr>
              <a:t>What</a:t>
            </a:r>
            <a:endParaRPr lang="en-IN" sz="2800" b="1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  <a:latin typeface="Copperplate Gothic Bold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099D38E-042C-49E8-94CD-0536D88ABDE3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3558880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0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0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2000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2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20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allAtOnce" animBg="1"/>
      <p:bldP spid="11" grpId="0" build="allAtOnce" animBg="1"/>
      <p:bldP spid="13" grpId="0" build="allAtOnce" animBg="1"/>
      <p:bldP spid="14" grpId="0" build="allAtOnce" animBg="1"/>
      <p:bldP spid="15" grpId="0" uiExpand="1" build="allAtOnce" animBg="1"/>
      <p:bldP spid="16" grpId="0" build="allAtOnce" animBg="1"/>
      <p:bldP spid="18" grpId="0" build="allAtOnce"/>
      <p:bldP spid="20" grpId="0" build="allAtOnce"/>
      <p:bldP spid="21" grpId="0" build="allAtOnce"/>
      <p:bldP spid="22" grpId="0" build="allAtOnce"/>
      <p:bldP spid="23" grpId="0" build="allAtOnce"/>
      <p:bldP spid="24" grpId="0" build="allAtOnce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chitectural Tactic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8382000" cy="2362200"/>
          </a:xfrm>
        </p:spPr>
        <p:txBody>
          <a:bodyPr/>
          <a:lstStyle/>
          <a:p>
            <a:r>
              <a:rPr lang="en-US" dirty="0" smtClean="0"/>
              <a:t>To achieve a quality one needs to take a design decision- called Tactic</a:t>
            </a:r>
          </a:p>
          <a:p>
            <a:pPr lvl="1"/>
            <a:r>
              <a:rPr lang="en-US" dirty="0" smtClean="0"/>
              <a:t>Collection of such tactics is </a:t>
            </a:r>
            <a:r>
              <a:rPr lang="en-US" b="1" dirty="0" smtClean="0"/>
              <a:t>architectural strategy</a:t>
            </a:r>
          </a:p>
          <a:p>
            <a:pPr lvl="1"/>
            <a:r>
              <a:rPr lang="en-US" dirty="0" smtClean="0"/>
              <a:t>A pattern can be a collection of tactics</a:t>
            </a:r>
          </a:p>
          <a:p>
            <a:pPr lvl="2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5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sp>
        <p:nvSpPr>
          <p:cNvPr id="7" name="Rounded Rectangle 6"/>
          <p:cNvSpPr/>
          <p:nvPr/>
        </p:nvSpPr>
        <p:spPr>
          <a:xfrm>
            <a:off x="357158" y="4219564"/>
            <a:ext cx="1785950" cy="1571636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/>
              <a:t>Source of Stimulus</a:t>
            </a:r>
            <a:endParaRPr lang="en-IN" sz="2000" b="1" dirty="0"/>
          </a:p>
        </p:txBody>
      </p:sp>
      <p:sp>
        <p:nvSpPr>
          <p:cNvPr id="8" name="Rounded Rectangle 7"/>
          <p:cNvSpPr/>
          <p:nvPr/>
        </p:nvSpPr>
        <p:spPr>
          <a:xfrm>
            <a:off x="3643306" y="3810000"/>
            <a:ext cx="3062294" cy="1981200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b" anchorCtr="1"/>
          <a:lstStyle/>
          <a:p>
            <a:pPr algn="ctr">
              <a:defRPr/>
            </a:pPr>
            <a:r>
              <a:rPr lang="en-US" sz="2000" b="1" dirty="0"/>
              <a:t>Environment</a:t>
            </a:r>
            <a:endParaRPr lang="en-IN" sz="2000" b="1" dirty="0"/>
          </a:p>
        </p:txBody>
      </p:sp>
      <p:sp>
        <p:nvSpPr>
          <p:cNvPr id="10" name="Right Arrow 9"/>
          <p:cNvSpPr/>
          <p:nvPr/>
        </p:nvSpPr>
        <p:spPr>
          <a:xfrm>
            <a:off x="2143108" y="4505316"/>
            <a:ext cx="1500198" cy="928694"/>
          </a:xfrm>
          <a:prstGeom prst="rightArrow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/>
              <a:t>Stimulus</a:t>
            </a:r>
            <a:endParaRPr lang="en-IN" sz="2000" b="1" dirty="0"/>
          </a:p>
        </p:txBody>
      </p:sp>
      <p:sp>
        <p:nvSpPr>
          <p:cNvPr id="11" name="Right Arrow 10"/>
          <p:cNvSpPr/>
          <p:nvPr/>
        </p:nvSpPr>
        <p:spPr>
          <a:xfrm>
            <a:off x="6805602" y="4505316"/>
            <a:ext cx="1500198" cy="928694"/>
          </a:xfrm>
          <a:prstGeom prst="rightArrow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/>
              <a:t>Response</a:t>
            </a:r>
            <a:endParaRPr lang="en-IN" sz="2000" b="1" dirty="0"/>
          </a:p>
        </p:txBody>
      </p:sp>
      <p:sp>
        <p:nvSpPr>
          <p:cNvPr id="12" name="Rounded Rectangle 11"/>
          <p:cNvSpPr/>
          <p:nvPr/>
        </p:nvSpPr>
        <p:spPr>
          <a:xfrm>
            <a:off x="3857620" y="3983816"/>
            <a:ext cx="2619380" cy="1273983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dirty="0" smtClean="0">
                <a:solidFill>
                  <a:schemeClr val="tx1"/>
                </a:solidFill>
              </a:rPr>
              <a:t>Tactics are implemented to achieve the desired response</a:t>
            </a:r>
            <a:endParaRPr lang="en-IN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813716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allAtOnce" animBg="1"/>
      <p:bldP spid="8" grpId="0" build="allAtOnce" animBg="1"/>
      <p:bldP spid="10" grpId="0" build="allAtOnce" animBg="1"/>
      <p:bldP spid="11" grpId="0" build="allAtOnce" animBg="1"/>
      <p:bldP spid="12" grpId="0" build="allAtOnce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098</TotalTime>
  <Words>1023</Words>
  <Application>Microsoft Macintosh PowerPoint</Application>
  <PresentationFormat>On-screen Show (4:3)</PresentationFormat>
  <Paragraphs>214</Paragraphs>
  <Slides>13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Office Theme</vt:lpstr>
      <vt:lpstr>think-cell Slide</vt:lpstr>
      <vt:lpstr>SS ZG653 (RL 3.1): Software Architecture Quality classes and attribute, quality attribute scenario and architectural tactics </vt:lpstr>
      <vt:lpstr>A step back</vt:lpstr>
      <vt:lpstr>Consider the following requirements</vt:lpstr>
      <vt:lpstr>Quality Attributes and Functionality</vt:lpstr>
      <vt:lpstr>Examples of Quality Attributes</vt:lpstr>
      <vt:lpstr>Defining and understanding system quality attributes</vt:lpstr>
      <vt:lpstr>Three Quality Classes</vt:lpstr>
      <vt:lpstr>Quality Attribute Scenario</vt:lpstr>
      <vt:lpstr>Architectural Tactics</vt:lpstr>
      <vt:lpstr>Quality Design Decisions</vt:lpstr>
      <vt:lpstr>Quality Design Decisions</vt:lpstr>
      <vt:lpstr>Business Qualities</vt:lpstr>
      <vt:lpstr>Architectural Qualities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tudio</cp:lastModifiedBy>
  <cp:revision>602</cp:revision>
  <dcterms:created xsi:type="dcterms:W3CDTF">2015-05-24T11:27:35Z</dcterms:created>
  <dcterms:modified xsi:type="dcterms:W3CDTF">2015-05-25T05:58:04Z</dcterms:modified>
</cp:coreProperties>
</file>